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827" r:id="rId3"/>
    <p:sldMasterId id="2147483957" r:id="rId4"/>
    <p:sldMasterId id="2147484001" r:id="rId5"/>
    <p:sldMasterId id="2147484113" r:id="rId6"/>
    <p:sldMasterId id="2147484131" r:id="rId7"/>
    <p:sldMasterId id="2147484197" r:id="rId8"/>
  </p:sldMasterIdLst>
  <p:notesMasterIdLst>
    <p:notesMasterId r:id="rId34"/>
  </p:notesMasterIdLst>
  <p:sldIdLst>
    <p:sldId id="765" r:id="rId9"/>
    <p:sldId id="2065" r:id="rId10"/>
    <p:sldId id="2007" r:id="rId11"/>
    <p:sldId id="2008" r:id="rId12"/>
    <p:sldId id="2009" r:id="rId13"/>
    <p:sldId id="1887" r:id="rId14"/>
    <p:sldId id="1889" r:id="rId15"/>
    <p:sldId id="1915" r:id="rId16"/>
    <p:sldId id="1916" r:id="rId17"/>
    <p:sldId id="2013" r:id="rId18"/>
    <p:sldId id="2014" r:id="rId19"/>
    <p:sldId id="1917" r:id="rId20"/>
    <p:sldId id="2078" r:id="rId21"/>
    <p:sldId id="1794" r:id="rId22"/>
    <p:sldId id="1987" r:id="rId23"/>
    <p:sldId id="2080" r:id="rId24"/>
    <p:sldId id="2081" r:id="rId25"/>
    <p:sldId id="2079" r:id="rId26"/>
    <p:sldId id="2069" r:id="rId27"/>
    <p:sldId id="2082" r:id="rId28"/>
    <p:sldId id="2083" r:id="rId29"/>
    <p:sldId id="2084" r:id="rId30"/>
    <p:sldId id="2085" r:id="rId31"/>
    <p:sldId id="2086" r:id="rId32"/>
    <p:sldId id="1985" r:id="rId33"/>
  </p:sldIdLst>
  <p:sldSz cx="12192000" cy="6858000"/>
  <p:notesSz cx="6858000" cy="9144000"/>
  <p:custDataLst>
    <p:tags r:id="rId3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pos="41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FCCFF"/>
    <a:srgbClr val="00FF00"/>
    <a:srgbClr val="FFFFFF"/>
    <a:srgbClr val="305983"/>
    <a:srgbClr val="F7E7E9"/>
    <a:srgbClr val="D31145"/>
    <a:srgbClr val="E7F6EA"/>
    <a:srgbClr val="92D050"/>
    <a:srgbClr val="00CD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68" autoAdjust="0"/>
    <p:restoredTop sz="93721" autoAdjust="0"/>
  </p:normalViewPr>
  <p:slideViewPr>
    <p:cSldViewPr snapToGrid="0">
      <p:cViewPr varScale="1">
        <p:scale>
          <a:sx n="104" d="100"/>
          <a:sy n="104" d="100"/>
        </p:scale>
        <p:origin x="1212" y="108"/>
      </p:cViewPr>
      <p:guideLst>
        <p:guide orient="horz" pos="4224"/>
        <p:guide pos="41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31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3:$A$165</c:f>
              <c:numCache>
                <c:formatCode>m/d/yyyy</c:formatCode>
                <c:ptCount val="103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  <c:pt idx="94">
                  <c:v>44291</c:v>
                </c:pt>
                <c:pt idx="95">
                  <c:v>44292</c:v>
                </c:pt>
                <c:pt idx="96">
                  <c:v>44293</c:v>
                </c:pt>
                <c:pt idx="97">
                  <c:v>44294</c:v>
                </c:pt>
                <c:pt idx="98">
                  <c:v>44295</c:v>
                </c:pt>
                <c:pt idx="99">
                  <c:v>44296</c:v>
                </c:pt>
                <c:pt idx="100">
                  <c:v>44297</c:v>
                </c:pt>
                <c:pt idx="101">
                  <c:v>44298</c:v>
                </c:pt>
                <c:pt idx="102">
                  <c:v>44299</c:v>
                </c:pt>
              </c:numCache>
            </c:numRef>
          </c:cat>
          <c:val>
            <c:numRef>
              <c:f>Sheet1!$B$63:$B$165</c:f>
              <c:numCache>
                <c:formatCode>General</c:formatCode>
                <c:ptCount val="103"/>
                <c:pt idx="0">
                  <c:v>3446</c:v>
                </c:pt>
                <c:pt idx="1">
                  <c:v>4985</c:v>
                </c:pt>
                <c:pt idx="2">
                  <c:v>6267</c:v>
                </c:pt>
                <c:pt idx="3">
                  <c:v>12955</c:v>
                </c:pt>
                <c:pt idx="4">
                  <c:v>17399</c:v>
                </c:pt>
                <c:pt idx="5">
                  <c:v>17770</c:v>
                </c:pt>
                <c:pt idx="6">
                  <c:v>14882</c:v>
                </c:pt>
                <c:pt idx="7">
                  <c:v>13099</c:v>
                </c:pt>
                <c:pt idx="8">
                  <c:v>8437</c:v>
                </c:pt>
                <c:pt idx="9">
                  <c:v>4312</c:v>
                </c:pt>
                <c:pt idx="10">
                  <c:v>9384</c:v>
                </c:pt>
                <c:pt idx="11">
                  <c:v>10810</c:v>
                </c:pt>
                <c:pt idx="12">
                  <c:v>10918</c:v>
                </c:pt>
                <c:pt idx="13">
                  <c:v>8087</c:v>
                </c:pt>
                <c:pt idx="14">
                  <c:v>9300</c:v>
                </c:pt>
                <c:pt idx="15">
                  <c:v>5241</c:v>
                </c:pt>
                <c:pt idx="16">
                  <c:v>2641</c:v>
                </c:pt>
                <c:pt idx="17">
                  <c:v>7668</c:v>
                </c:pt>
                <c:pt idx="18">
                  <c:v>9609</c:v>
                </c:pt>
                <c:pt idx="19">
                  <c:v>8215</c:v>
                </c:pt>
                <c:pt idx="20">
                  <c:v>7532</c:v>
                </c:pt>
                <c:pt idx="21">
                  <c:v>8467</c:v>
                </c:pt>
                <c:pt idx="22">
                  <c:v>4239</c:v>
                </c:pt>
                <c:pt idx="23">
                  <c:v>2394</c:v>
                </c:pt>
                <c:pt idx="24">
                  <c:v>6974</c:v>
                </c:pt>
                <c:pt idx="25">
                  <c:v>9194</c:v>
                </c:pt>
                <c:pt idx="26">
                  <c:v>8503</c:v>
                </c:pt>
                <c:pt idx="27">
                  <c:v>8010</c:v>
                </c:pt>
                <c:pt idx="28">
                  <c:v>8052</c:v>
                </c:pt>
                <c:pt idx="29">
                  <c:v>4055</c:v>
                </c:pt>
                <c:pt idx="30">
                  <c:v>2573</c:v>
                </c:pt>
                <c:pt idx="31">
                  <c:v>7217</c:v>
                </c:pt>
                <c:pt idx="32">
                  <c:v>9148</c:v>
                </c:pt>
                <c:pt idx="33">
                  <c:v>9666</c:v>
                </c:pt>
                <c:pt idx="34">
                  <c:v>8107</c:v>
                </c:pt>
                <c:pt idx="35">
                  <c:v>8622</c:v>
                </c:pt>
                <c:pt idx="36">
                  <c:v>4820</c:v>
                </c:pt>
                <c:pt idx="37">
                  <c:v>2451</c:v>
                </c:pt>
                <c:pt idx="38">
                  <c:v>7779</c:v>
                </c:pt>
                <c:pt idx="39">
                  <c:v>10283</c:v>
                </c:pt>
                <c:pt idx="40">
                  <c:v>9538</c:v>
                </c:pt>
                <c:pt idx="41">
                  <c:v>9017</c:v>
                </c:pt>
                <c:pt idx="42">
                  <c:v>8828</c:v>
                </c:pt>
                <c:pt idx="43">
                  <c:v>5141</c:v>
                </c:pt>
                <c:pt idx="44">
                  <c:v>2881</c:v>
                </c:pt>
                <c:pt idx="45">
                  <c:v>8905</c:v>
                </c:pt>
                <c:pt idx="46">
                  <c:v>12609</c:v>
                </c:pt>
                <c:pt idx="47">
                  <c:v>10938</c:v>
                </c:pt>
                <c:pt idx="48">
                  <c:v>11702</c:v>
                </c:pt>
                <c:pt idx="49">
                  <c:v>11287</c:v>
                </c:pt>
                <c:pt idx="50">
                  <c:v>6775</c:v>
                </c:pt>
                <c:pt idx="51">
                  <c:v>4068</c:v>
                </c:pt>
                <c:pt idx="52">
                  <c:v>11408</c:v>
                </c:pt>
                <c:pt idx="53">
                  <c:v>15841</c:v>
                </c:pt>
                <c:pt idx="54">
                  <c:v>13795</c:v>
                </c:pt>
                <c:pt idx="55">
                  <c:v>14588</c:v>
                </c:pt>
                <c:pt idx="56">
                  <c:v>14776</c:v>
                </c:pt>
                <c:pt idx="57">
                  <c:v>7823</c:v>
                </c:pt>
                <c:pt idx="58">
                  <c:v>4587</c:v>
                </c:pt>
                <c:pt idx="59">
                  <c:v>12322</c:v>
                </c:pt>
                <c:pt idx="60">
                  <c:v>16777</c:v>
                </c:pt>
                <c:pt idx="61">
                  <c:v>15239</c:v>
                </c:pt>
                <c:pt idx="62">
                  <c:v>14649</c:v>
                </c:pt>
                <c:pt idx="63">
                  <c:v>13169</c:v>
                </c:pt>
                <c:pt idx="64">
                  <c:v>9130</c:v>
                </c:pt>
                <c:pt idx="65">
                  <c:v>3982</c:v>
                </c:pt>
                <c:pt idx="66">
                  <c:v>10653</c:v>
                </c:pt>
                <c:pt idx="67">
                  <c:v>15357</c:v>
                </c:pt>
                <c:pt idx="68">
                  <c:v>14535</c:v>
                </c:pt>
                <c:pt idx="69">
                  <c:v>11242</c:v>
                </c:pt>
                <c:pt idx="70">
                  <c:v>14957</c:v>
                </c:pt>
                <c:pt idx="71">
                  <c:v>6956</c:v>
                </c:pt>
                <c:pt idx="72">
                  <c:v>3331</c:v>
                </c:pt>
                <c:pt idx="73">
                  <c:v>10628</c:v>
                </c:pt>
                <c:pt idx="74">
                  <c:v>14027</c:v>
                </c:pt>
                <c:pt idx="75">
                  <c:v>12025</c:v>
                </c:pt>
                <c:pt idx="76">
                  <c:v>10656</c:v>
                </c:pt>
                <c:pt idx="77">
                  <c:v>9708</c:v>
                </c:pt>
                <c:pt idx="78">
                  <c:v>5466</c:v>
                </c:pt>
                <c:pt idx="79">
                  <c:v>2388</c:v>
                </c:pt>
                <c:pt idx="80">
                  <c:v>8240</c:v>
                </c:pt>
                <c:pt idx="81">
                  <c:v>10969</c:v>
                </c:pt>
                <c:pt idx="82">
                  <c:v>8845</c:v>
                </c:pt>
                <c:pt idx="83">
                  <c:v>7923</c:v>
                </c:pt>
                <c:pt idx="84">
                  <c:v>7709</c:v>
                </c:pt>
                <c:pt idx="85">
                  <c:v>3969</c:v>
                </c:pt>
                <c:pt idx="86">
                  <c:v>1743</c:v>
                </c:pt>
                <c:pt idx="87">
                  <c:v>6933</c:v>
                </c:pt>
                <c:pt idx="88">
                  <c:v>8629</c:v>
                </c:pt>
                <c:pt idx="89">
                  <c:v>7255</c:v>
                </c:pt>
                <c:pt idx="90">
                  <c:v>6243</c:v>
                </c:pt>
                <c:pt idx="91">
                  <c:v>3829</c:v>
                </c:pt>
                <c:pt idx="92">
                  <c:v>2158</c:v>
                </c:pt>
                <c:pt idx="93">
                  <c:v>1922</c:v>
                </c:pt>
                <c:pt idx="94">
                  <c:v>1414</c:v>
                </c:pt>
                <c:pt idx="95">
                  <c:v>5566</c:v>
                </c:pt>
                <c:pt idx="96">
                  <c:v>7015</c:v>
                </c:pt>
                <c:pt idx="97">
                  <c:v>5270</c:v>
                </c:pt>
                <c:pt idx="98">
                  <c:v>4805</c:v>
                </c:pt>
                <c:pt idx="99">
                  <c:v>2198</c:v>
                </c:pt>
                <c:pt idx="100">
                  <c:v>976</c:v>
                </c:pt>
                <c:pt idx="101">
                  <c:v>3843</c:v>
                </c:pt>
                <c:pt idx="102">
                  <c:v>50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9B-4FBB-A2AC-E8BB2DFAE1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2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% pozitivních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03</c:f>
              <c:numCache>
                <c:formatCode>m/d/yyyy</c:formatCode>
                <c:ptCount val="50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</c:numCache>
            </c:numRef>
          </c:cat>
          <c:val>
            <c:numRef>
              <c:f>Sheet1!$B$2:$B$503</c:f>
              <c:numCache>
                <c:formatCode>General</c:formatCode>
                <c:ptCount val="502"/>
                <c:pt idx="0">
                  <c:v>4.2544886807181888E-2</c:v>
                </c:pt>
                <c:pt idx="1">
                  <c:v>7.422157856625633E-2</c:v>
                </c:pt>
                <c:pt idx="2">
                  <c:v>7.243340317270279E-2</c:v>
                </c:pt>
                <c:pt idx="3">
                  <c:v>8.6837606837606843E-2</c:v>
                </c:pt>
                <c:pt idx="4">
                  <c:v>7.1884984025559109E-2</c:v>
                </c:pt>
                <c:pt idx="5">
                  <c:v>0.11879432624113476</c:v>
                </c:pt>
                <c:pt idx="6">
                  <c:v>5.9184568171854447E-2</c:v>
                </c:pt>
                <c:pt idx="7">
                  <c:v>8.9536367503190134E-2</c:v>
                </c:pt>
                <c:pt idx="8">
                  <c:v>8.9849108367626884E-2</c:v>
                </c:pt>
                <c:pt idx="9">
                  <c:v>0.10657507360157016</c:v>
                </c:pt>
                <c:pt idx="10">
                  <c:v>8.0338266384778007E-2</c:v>
                </c:pt>
                <c:pt idx="11">
                  <c:v>0.14996203492786636</c:v>
                </c:pt>
                <c:pt idx="12">
                  <c:v>0.15228174603174602</c:v>
                </c:pt>
                <c:pt idx="13">
                  <c:v>6.9150122685701546E-2</c:v>
                </c:pt>
                <c:pt idx="14">
                  <c:v>8.4837266697516581E-2</c:v>
                </c:pt>
                <c:pt idx="15">
                  <c:v>0.12191192266380237</c:v>
                </c:pt>
                <c:pt idx="16">
                  <c:v>0.17855903781658378</c:v>
                </c:pt>
                <c:pt idx="17">
                  <c:v>0.13922373824347595</c:v>
                </c:pt>
                <c:pt idx="18">
                  <c:v>0.14370145221209052</c:v>
                </c:pt>
                <c:pt idx="19">
                  <c:v>0.10994152046783626</c:v>
                </c:pt>
                <c:pt idx="20">
                  <c:v>9.1986280012472721E-2</c:v>
                </c:pt>
                <c:pt idx="21">
                  <c:v>0.13522238163558106</c:v>
                </c:pt>
                <c:pt idx="22">
                  <c:v>0.13469068128425998</c:v>
                </c:pt>
                <c:pt idx="23">
                  <c:v>0.15216464064832588</c:v>
                </c:pt>
                <c:pt idx="24">
                  <c:v>0.16888283949324678</c:v>
                </c:pt>
                <c:pt idx="25">
                  <c:v>0.15886312640239342</c:v>
                </c:pt>
                <c:pt idx="26">
                  <c:v>0.15031315240083507</c:v>
                </c:pt>
                <c:pt idx="27">
                  <c:v>0.14073681420620196</c:v>
                </c:pt>
                <c:pt idx="28">
                  <c:v>0.14426045467302834</c:v>
                </c:pt>
                <c:pt idx="29">
                  <c:v>0.1758508060267622</c:v>
                </c:pt>
                <c:pt idx="30">
                  <c:v>0.20524990313831848</c:v>
                </c:pt>
                <c:pt idx="31">
                  <c:v>0.21036643250427189</c:v>
                </c:pt>
                <c:pt idx="32">
                  <c:v>0.22019890741000139</c:v>
                </c:pt>
                <c:pt idx="33">
                  <c:v>0.25925925925925924</c:v>
                </c:pt>
                <c:pt idx="34">
                  <c:v>0.24023331524688007</c:v>
                </c:pt>
                <c:pt idx="35">
                  <c:v>0.2398284984491881</c:v>
                </c:pt>
                <c:pt idx="36">
                  <c:v>0.27459294436906379</c:v>
                </c:pt>
                <c:pt idx="37">
                  <c:v>0.28348858296925233</c:v>
                </c:pt>
                <c:pt idx="38">
                  <c:v>0.39397501836884646</c:v>
                </c:pt>
                <c:pt idx="39">
                  <c:v>0.32563138097796884</c:v>
                </c:pt>
                <c:pt idx="40">
                  <c:v>0.33876040703052729</c:v>
                </c:pt>
                <c:pt idx="41">
                  <c:v>0.25651465798045603</c:v>
                </c:pt>
                <c:pt idx="42">
                  <c:v>0.32470950760736983</c:v>
                </c:pt>
                <c:pt idx="43">
                  <c:v>0.34636163175303197</c:v>
                </c:pt>
                <c:pt idx="44">
                  <c:v>0.34998302975449713</c:v>
                </c:pt>
                <c:pt idx="45">
                  <c:v>0.3547433750369422</c:v>
                </c:pt>
                <c:pt idx="46">
                  <c:v>0.36335213339872485</c:v>
                </c:pt>
                <c:pt idx="47">
                  <c:v>0.36923076923076925</c:v>
                </c:pt>
                <c:pt idx="48">
                  <c:v>0.34716261325703385</c:v>
                </c:pt>
                <c:pt idx="49">
                  <c:v>0.36292357606344627</c:v>
                </c:pt>
                <c:pt idx="50">
                  <c:v>0.40492943258033987</c:v>
                </c:pt>
                <c:pt idx="51">
                  <c:v>0.38698781615666089</c:v>
                </c:pt>
                <c:pt idx="52">
                  <c:v>0.40318979266347688</c:v>
                </c:pt>
                <c:pt idx="53">
                  <c:v>0.38368698531654394</c:v>
                </c:pt>
                <c:pt idx="54">
                  <c:v>0.41119641162770637</c:v>
                </c:pt>
                <c:pt idx="55">
                  <c:v>0.3615953370392358</c:v>
                </c:pt>
                <c:pt idx="56">
                  <c:v>0.38074525155864869</c:v>
                </c:pt>
                <c:pt idx="57">
                  <c:v>0.39335571655769569</c:v>
                </c:pt>
                <c:pt idx="58">
                  <c:v>0.37242621825669181</c:v>
                </c:pt>
                <c:pt idx="59">
                  <c:v>0.34415102737185671</c:v>
                </c:pt>
                <c:pt idx="60">
                  <c:v>0.38067712634186623</c:v>
                </c:pt>
                <c:pt idx="61">
                  <c:v>0.38587550054605024</c:v>
                </c:pt>
                <c:pt idx="62">
                  <c:v>0.37274584184417858</c:v>
                </c:pt>
                <c:pt idx="63">
                  <c:v>0.34534534534534533</c:v>
                </c:pt>
                <c:pt idx="64">
                  <c:v>0.41366722926561211</c:v>
                </c:pt>
                <c:pt idx="65">
                  <c:v>0.38113269674020417</c:v>
                </c:pt>
                <c:pt idx="66">
                  <c:v>0.34477028786994207</c:v>
                </c:pt>
                <c:pt idx="67">
                  <c:v>0.35800404209352565</c:v>
                </c:pt>
                <c:pt idx="68">
                  <c:v>0.3247134880987364</c:v>
                </c:pt>
                <c:pt idx="69">
                  <c:v>0.25708090527171701</c:v>
                </c:pt>
                <c:pt idx="70">
                  <c:v>0.30510705066558685</c:v>
                </c:pt>
                <c:pt idx="71">
                  <c:v>0.33194272184011725</c:v>
                </c:pt>
                <c:pt idx="72">
                  <c:v>0.32474683544303795</c:v>
                </c:pt>
                <c:pt idx="73">
                  <c:v>0.28910915471279935</c:v>
                </c:pt>
                <c:pt idx="74">
                  <c:v>0.32523051131601005</c:v>
                </c:pt>
                <c:pt idx="75">
                  <c:v>0.28319747567709702</c:v>
                </c:pt>
                <c:pt idx="76">
                  <c:v>0.26150374728019987</c:v>
                </c:pt>
                <c:pt idx="77">
                  <c:v>0.30949575871819041</c:v>
                </c:pt>
                <c:pt idx="78">
                  <c:v>0.27767475610739339</c:v>
                </c:pt>
                <c:pt idx="79">
                  <c:v>0.30579290369297613</c:v>
                </c:pt>
                <c:pt idx="80">
                  <c:v>0.27509994719770686</c:v>
                </c:pt>
                <c:pt idx="81">
                  <c:v>0.281111903064861</c:v>
                </c:pt>
                <c:pt idx="82">
                  <c:v>0.26939970717423134</c:v>
                </c:pt>
                <c:pt idx="83">
                  <c:v>0.23671840354767185</c:v>
                </c:pt>
                <c:pt idx="84">
                  <c:v>0.29940072543762813</c:v>
                </c:pt>
                <c:pt idx="85">
                  <c:v>0.27454727454727457</c:v>
                </c:pt>
                <c:pt idx="86">
                  <c:v>0.26648764769065519</c:v>
                </c:pt>
                <c:pt idx="87">
                  <c:v>0.2512057877813505</c:v>
                </c:pt>
                <c:pt idx="88">
                  <c:v>0.26898253606681854</c:v>
                </c:pt>
                <c:pt idx="89">
                  <c:v>0.21628608358466178</c:v>
                </c:pt>
                <c:pt idx="90">
                  <c:v>0.21475266942689039</c:v>
                </c:pt>
                <c:pt idx="91">
                  <c:v>0.29253989617381271</c:v>
                </c:pt>
                <c:pt idx="92">
                  <c:v>0.25457430918595969</c:v>
                </c:pt>
                <c:pt idx="93">
                  <c:v>0.28171931641636455</c:v>
                </c:pt>
                <c:pt idx="94">
                  <c:v>0.27351432235998291</c:v>
                </c:pt>
                <c:pt idx="95">
                  <c:v>0.31314973554623382</c:v>
                </c:pt>
                <c:pt idx="96">
                  <c:v>0.20583775587566339</c:v>
                </c:pt>
                <c:pt idx="97">
                  <c:v>0.22700028541527922</c:v>
                </c:pt>
                <c:pt idx="98">
                  <c:v>0.28926982033954179</c:v>
                </c:pt>
                <c:pt idx="99">
                  <c:v>0.31945009354917431</c:v>
                </c:pt>
                <c:pt idx="100">
                  <c:v>0.28607831478807438</c:v>
                </c:pt>
                <c:pt idx="101">
                  <c:v>0.27258758451137061</c:v>
                </c:pt>
                <c:pt idx="102">
                  <c:v>0.30875152998776012</c:v>
                </c:pt>
                <c:pt idx="103">
                  <c:v>0.30667450749779479</c:v>
                </c:pt>
                <c:pt idx="104">
                  <c:v>0.25041129102086762</c:v>
                </c:pt>
                <c:pt idx="105">
                  <c:v>0.31513090785447129</c:v>
                </c:pt>
                <c:pt idx="106">
                  <c:v>0.325814696485623</c:v>
                </c:pt>
                <c:pt idx="107">
                  <c:v>0.3088013631299561</c:v>
                </c:pt>
                <c:pt idx="108">
                  <c:v>0.33380039487930707</c:v>
                </c:pt>
                <c:pt idx="109">
                  <c:v>0.30935856992639327</c:v>
                </c:pt>
                <c:pt idx="110">
                  <c:v>0.40319270239452681</c:v>
                </c:pt>
                <c:pt idx="111">
                  <c:v>0.305421556627547</c:v>
                </c:pt>
                <c:pt idx="112">
                  <c:v>0.35293133262676407</c:v>
                </c:pt>
                <c:pt idx="113">
                  <c:v>0.41291966426858512</c:v>
                </c:pt>
                <c:pt idx="114">
                  <c:v>0.44911858974358976</c:v>
                </c:pt>
                <c:pt idx="115">
                  <c:v>0.39098318899643403</c:v>
                </c:pt>
                <c:pt idx="116">
                  <c:v>0.42041522491349481</c:v>
                </c:pt>
                <c:pt idx="117">
                  <c:v>0.40385838456646173</c:v>
                </c:pt>
                <c:pt idx="118">
                  <c:v>0.45525408484485086</c:v>
                </c:pt>
                <c:pt idx="119">
                  <c:v>0.5432201049433858</c:v>
                </c:pt>
                <c:pt idx="120">
                  <c:v>0.53919581911262804</c:v>
                </c:pt>
                <c:pt idx="121">
                  <c:v>0.54450600849104125</c:v>
                </c:pt>
                <c:pt idx="122">
                  <c:v>0.52733389402859543</c:v>
                </c:pt>
                <c:pt idx="123">
                  <c:v>0.47065390749601277</c:v>
                </c:pt>
                <c:pt idx="124">
                  <c:v>0.50759734093067421</c:v>
                </c:pt>
                <c:pt idx="125">
                  <c:v>0.41050627240143367</c:v>
                </c:pt>
                <c:pt idx="126">
                  <c:v>0.45986712156581072</c:v>
                </c:pt>
                <c:pt idx="127">
                  <c:v>0.51520107754473732</c:v>
                </c:pt>
                <c:pt idx="128">
                  <c:v>0.43335864338142244</c:v>
                </c:pt>
                <c:pt idx="129">
                  <c:v>0.38490468830499741</c:v>
                </c:pt>
                <c:pt idx="130">
                  <c:v>0.48375645438898451</c:v>
                </c:pt>
                <c:pt idx="131">
                  <c:v>0.43329228243021345</c:v>
                </c:pt>
                <c:pt idx="132">
                  <c:v>0.31624575951752731</c:v>
                </c:pt>
                <c:pt idx="133">
                  <c:v>0.33720861611094716</c:v>
                </c:pt>
                <c:pt idx="134">
                  <c:v>0.3711600328013625</c:v>
                </c:pt>
                <c:pt idx="135">
                  <c:v>0.30704612933594033</c:v>
                </c:pt>
                <c:pt idx="136">
                  <c:v>0.33460630467990554</c:v>
                </c:pt>
                <c:pt idx="137">
                  <c:v>0.34294407418139672</c:v>
                </c:pt>
                <c:pt idx="138">
                  <c:v>0.3487057423385897</c:v>
                </c:pt>
                <c:pt idx="139">
                  <c:v>0.30152701954268535</c:v>
                </c:pt>
                <c:pt idx="140">
                  <c:v>0.35778047561236875</c:v>
                </c:pt>
                <c:pt idx="141">
                  <c:v>0.33591117917304747</c:v>
                </c:pt>
                <c:pt idx="142">
                  <c:v>0.3581135091926459</c:v>
                </c:pt>
                <c:pt idx="143">
                  <c:v>0.3108902270913444</c:v>
                </c:pt>
                <c:pt idx="144">
                  <c:v>0.34492160872528971</c:v>
                </c:pt>
                <c:pt idx="145">
                  <c:v>0.34135240572171649</c:v>
                </c:pt>
                <c:pt idx="146">
                  <c:v>0.28392518744335504</c:v>
                </c:pt>
                <c:pt idx="147">
                  <c:v>0.34271342130203397</c:v>
                </c:pt>
                <c:pt idx="148">
                  <c:v>0.32722912579027685</c:v>
                </c:pt>
                <c:pt idx="149">
                  <c:v>0.33439386523086961</c:v>
                </c:pt>
                <c:pt idx="150">
                  <c:v>0.29396248534583824</c:v>
                </c:pt>
                <c:pt idx="151">
                  <c:v>0.32454466608846488</c:v>
                </c:pt>
                <c:pt idx="152">
                  <c:v>0.39157674904281237</c:v>
                </c:pt>
                <c:pt idx="153">
                  <c:v>0.29402985074626864</c:v>
                </c:pt>
                <c:pt idx="154">
                  <c:v>0.34029722162395004</c:v>
                </c:pt>
                <c:pt idx="155">
                  <c:v>0.34756871035940801</c:v>
                </c:pt>
                <c:pt idx="156">
                  <c:v>0.32041284403669723</c:v>
                </c:pt>
                <c:pt idx="157">
                  <c:v>0.31169977924944814</c:v>
                </c:pt>
                <c:pt idx="158">
                  <c:v>0.35696202531645571</c:v>
                </c:pt>
                <c:pt idx="159">
                  <c:v>0.35761359694762401</c:v>
                </c:pt>
                <c:pt idx="160">
                  <c:v>0.33658759124087589</c:v>
                </c:pt>
                <c:pt idx="161">
                  <c:v>0.37474762042111337</c:v>
                </c:pt>
                <c:pt idx="162">
                  <c:v>0.36186656944950785</c:v>
                </c:pt>
                <c:pt idx="163">
                  <c:v>0.35112719595868203</c:v>
                </c:pt>
                <c:pt idx="164">
                  <c:v>0.31563464160149241</c:v>
                </c:pt>
                <c:pt idx="165">
                  <c:v>0.34144183989385229</c:v>
                </c:pt>
                <c:pt idx="166">
                  <c:v>0.36955788052649341</c:v>
                </c:pt>
                <c:pt idx="167">
                  <c:v>0.3302137958854377</c:v>
                </c:pt>
                <c:pt idx="168">
                  <c:v>0.41078785573936744</c:v>
                </c:pt>
                <c:pt idx="169">
                  <c:v>0.38206445586174687</c:v>
                </c:pt>
                <c:pt idx="170">
                  <c:v>0.37663727959697735</c:v>
                </c:pt>
                <c:pt idx="171">
                  <c:v>0.3335084646818447</c:v>
                </c:pt>
                <c:pt idx="172">
                  <c:v>0.40842765580253648</c:v>
                </c:pt>
                <c:pt idx="173">
                  <c:v>0.4896013864818024</c:v>
                </c:pt>
                <c:pt idx="174">
                  <c:v>0.3684561965811966</c:v>
                </c:pt>
                <c:pt idx="175">
                  <c:v>0.42761812506726943</c:v>
                </c:pt>
                <c:pt idx="176">
                  <c:v>0.40274175620600222</c:v>
                </c:pt>
                <c:pt idx="177">
                  <c:v>0.4009893005000269</c:v>
                </c:pt>
                <c:pt idx="178">
                  <c:v>0.36818506063385303</c:v>
                </c:pt>
                <c:pt idx="179">
                  <c:v>0.37481759432978945</c:v>
                </c:pt>
                <c:pt idx="180">
                  <c:v>0.4109182275011421</c:v>
                </c:pt>
                <c:pt idx="181">
                  <c:v>0.37475333004440059</c:v>
                </c:pt>
                <c:pt idx="182">
                  <c:v>0.41254061393724845</c:v>
                </c:pt>
                <c:pt idx="183">
                  <c:v>0.40185574409186448</c:v>
                </c:pt>
                <c:pt idx="184">
                  <c:v>0.3994897693549227</c:v>
                </c:pt>
                <c:pt idx="185">
                  <c:v>0.32978723404255317</c:v>
                </c:pt>
                <c:pt idx="186">
                  <c:v>0.46875355719977235</c:v>
                </c:pt>
                <c:pt idx="187">
                  <c:v>0.39442139234670354</c:v>
                </c:pt>
                <c:pt idx="188">
                  <c:v>0.33546624008531628</c:v>
                </c:pt>
                <c:pt idx="189">
                  <c:v>0.39525845316750874</c:v>
                </c:pt>
                <c:pt idx="190">
                  <c:v>0.37366003062787134</c:v>
                </c:pt>
                <c:pt idx="191">
                  <c:v>0.33341574978365685</c:v>
                </c:pt>
                <c:pt idx="192">
                  <c:v>0.42989770958416723</c:v>
                </c:pt>
                <c:pt idx="193">
                  <c:v>0.379355343860107</c:v>
                </c:pt>
                <c:pt idx="194">
                  <c:v>0.39796832984762476</c:v>
                </c:pt>
                <c:pt idx="195">
                  <c:v>0.31660829741379309</c:v>
                </c:pt>
                <c:pt idx="196">
                  <c:v>0.38556348410685853</c:v>
                </c:pt>
                <c:pt idx="197">
                  <c:v>0.36960010270235572</c:v>
                </c:pt>
                <c:pt idx="198">
                  <c:v>0.35049490849533577</c:v>
                </c:pt>
                <c:pt idx="199">
                  <c:v>0.30481094808126413</c:v>
                </c:pt>
                <c:pt idx="200">
                  <c:v>0.31021848283349163</c:v>
                </c:pt>
                <c:pt idx="201">
                  <c:v>0.3172974885037142</c:v>
                </c:pt>
                <c:pt idx="202">
                  <c:v>0.25984562066792688</c:v>
                </c:pt>
                <c:pt idx="203">
                  <c:v>0.32705546174827899</c:v>
                </c:pt>
                <c:pt idx="204">
                  <c:v>0.33094730429485225</c:v>
                </c:pt>
                <c:pt idx="205">
                  <c:v>0.27143294549908142</c:v>
                </c:pt>
                <c:pt idx="206">
                  <c:v>0.27788981205130275</c:v>
                </c:pt>
                <c:pt idx="207">
                  <c:v>0.31642606320717909</c:v>
                </c:pt>
                <c:pt idx="208">
                  <c:v>0.16051282051282051</c:v>
                </c:pt>
                <c:pt idx="209">
                  <c:v>0.23478666355793892</c:v>
                </c:pt>
                <c:pt idx="210">
                  <c:v>0.28240337111304853</c:v>
                </c:pt>
                <c:pt idx="211">
                  <c:v>0.27081308713961777</c:v>
                </c:pt>
                <c:pt idx="212">
                  <c:v>0.25812897366030879</c:v>
                </c:pt>
                <c:pt idx="213">
                  <c:v>0.28327951202009327</c:v>
                </c:pt>
                <c:pt idx="214">
                  <c:v>0.26892307692307693</c:v>
                </c:pt>
                <c:pt idx="215">
                  <c:v>0.26611308817714513</c:v>
                </c:pt>
                <c:pt idx="216">
                  <c:v>0.13146606106484987</c:v>
                </c:pt>
                <c:pt idx="217">
                  <c:v>0.20295265569319532</c:v>
                </c:pt>
                <c:pt idx="218">
                  <c:v>0.2670282836110035</c:v>
                </c:pt>
                <c:pt idx="219">
                  <c:v>0.26000983767830793</c:v>
                </c:pt>
                <c:pt idx="220">
                  <c:v>0.22170439414114515</c:v>
                </c:pt>
                <c:pt idx="221">
                  <c:v>0.19766957969205159</c:v>
                </c:pt>
                <c:pt idx="222">
                  <c:v>0.17606602475928473</c:v>
                </c:pt>
                <c:pt idx="223">
                  <c:v>0.13734461325966851</c:v>
                </c:pt>
                <c:pt idx="224">
                  <c:v>0.218369887941768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1AC-4499-BB59-3A7E8D23F8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  <c:major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% pozitivních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03</c:f>
              <c:numCache>
                <c:formatCode>m/d/yyyy</c:formatCode>
                <c:ptCount val="50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</c:numCache>
            </c:numRef>
          </c:cat>
          <c:val>
            <c:numRef>
              <c:f>Sheet1!$B$2:$B$503</c:f>
              <c:numCache>
                <c:formatCode>General</c:formatCode>
                <c:ptCount val="502"/>
                <c:pt idx="0">
                  <c:v>3.9618856569709128E-2</c:v>
                </c:pt>
                <c:pt idx="1">
                  <c:v>5.4639660857277436E-2</c:v>
                </c:pt>
                <c:pt idx="2">
                  <c:v>6.3454198473282444E-2</c:v>
                </c:pt>
                <c:pt idx="3">
                  <c:v>6.8833652007648183E-2</c:v>
                </c:pt>
                <c:pt idx="4">
                  <c:v>6.5607734806629833E-2</c:v>
                </c:pt>
                <c:pt idx="5">
                  <c:v>8.2758620689655171E-2</c:v>
                </c:pt>
                <c:pt idx="6">
                  <c:v>5.0832602979842247E-2</c:v>
                </c:pt>
                <c:pt idx="7">
                  <c:v>6.833642547928262E-2</c:v>
                </c:pt>
                <c:pt idx="8">
                  <c:v>8.1263416130021471E-2</c:v>
                </c:pt>
                <c:pt idx="9">
                  <c:v>8.527755430410297E-2</c:v>
                </c:pt>
                <c:pt idx="10">
                  <c:v>7.4195053663089122E-2</c:v>
                </c:pt>
                <c:pt idx="11">
                  <c:v>0.10586692887577843</c:v>
                </c:pt>
                <c:pt idx="12">
                  <c:v>0.10856079404466501</c:v>
                </c:pt>
                <c:pt idx="13">
                  <c:v>5.8343949044585987E-2</c:v>
                </c:pt>
                <c:pt idx="14">
                  <c:v>8.5708342001248175E-2</c:v>
                </c:pt>
                <c:pt idx="15">
                  <c:v>0.10621492413219705</c:v>
                </c:pt>
                <c:pt idx="16">
                  <c:v>0.12419470293486042</c:v>
                </c:pt>
                <c:pt idx="17">
                  <c:v>9.2897196261682247E-2</c:v>
                </c:pt>
                <c:pt idx="18">
                  <c:v>0.11252992817238627</c:v>
                </c:pt>
                <c:pt idx="19">
                  <c:v>8.5946573751451802E-2</c:v>
                </c:pt>
                <c:pt idx="20">
                  <c:v>8.3333333333333329E-2</c:v>
                </c:pt>
                <c:pt idx="21">
                  <c:v>9.949692565679151E-2</c:v>
                </c:pt>
                <c:pt idx="22">
                  <c:v>9.884736290604261E-2</c:v>
                </c:pt>
                <c:pt idx="23">
                  <c:v>0.12040020349330167</c:v>
                </c:pt>
                <c:pt idx="24">
                  <c:v>0.115653660811441</c:v>
                </c:pt>
                <c:pt idx="25">
                  <c:v>0.12609676610679368</c:v>
                </c:pt>
                <c:pt idx="26">
                  <c:v>0.11901252763448784</c:v>
                </c:pt>
                <c:pt idx="27">
                  <c:v>0.1005631536604988</c:v>
                </c:pt>
                <c:pt idx="28">
                  <c:v>0.10870960838861544</c:v>
                </c:pt>
                <c:pt idx="29">
                  <c:v>0.13007020280811232</c:v>
                </c:pt>
                <c:pt idx="30">
                  <c:v>0.14064342260400875</c:v>
                </c:pt>
                <c:pt idx="31">
                  <c:v>0.16173198699298305</c:v>
                </c:pt>
                <c:pt idx="32">
                  <c:v>0.16250000000000001</c:v>
                </c:pt>
                <c:pt idx="33">
                  <c:v>0.2323529411764706</c:v>
                </c:pt>
                <c:pt idx="34">
                  <c:v>0.1823030303030303</c:v>
                </c:pt>
                <c:pt idx="35">
                  <c:v>0.17616300036062027</c:v>
                </c:pt>
                <c:pt idx="36">
                  <c:v>0.20586158192090395</c:v>
                </c:pt>
                <c:pt idx="37">
                  <c:v>0.19800978242536685</c:v>
                </c:pt>
                <c:pt idx="38">
                  <c:v>0.27884754596785871</c:v>
                </c:pt>
                <c:pt idx="39">
                  <c:v>0.24030251280800194</c:v>
                </c:pt>
                <c:pt idx="40">
                  <c:v>0.23190442726633873</c:v>
                </c:pt>
                <c:pt idx="41">
                  <c:v>0.20315661675435046</c:v>
                </c:pt>
                <c:pt idx="42">
                  <c:v>0.2283285258843176</c:v>
                </c:pt>
                <c:pt idx="43">
                  <c:v>0.23409941207910209</c:v>
                </c:pt>
                <c:pt idx="44">
                  <c:v>0.23506185838378521</c:v>
                </c:pt>
                <c:pt idx="45">
                  <c:v>0.25443131462333823</c:v>
                </c:pt>
                <c:pt idx="46">
                  <c:v>0.24062452165926834</c:v>
                </c:pt>
                <c:pt idx="47">
                  <c:v>0.24490258269143633</c:v>
                </c:pt>
                <c:pt idx="48">
                  <c:v>0.23547356188262639</c:v>
                </c:pt>
                <c:pt idx="49">
                  <c:v>0.23841201716738197</c:v>
                </c:pt>
                <c:pt idx="50">
                  <c:v>0.27677316593272744</c:v>
                </c:pt>
                <c:pt idx="51">
                  <c:v>0.25789613376979564</c:v>
                </c:pt>
                <c:pt idx="52">
                  <c:v>0.27642786694163007</c:v>
                </c:pt>
                <c:pt idx="53">
                  <c:v>0.25517729063541772</c:v>
                </c:pt>
                <c:pt idx="54">
                  <c:v>0.28147226173541962</c:v>
                </c:pt>
                <c:pt idx="55">
                  <c:v>0.25657973801225814</c:v>
                </c:pt>
                <c:pt idx="56">
                  <c:v>0.27219849132054896</c:v>
                </c:pt>
                <c:pt idx="57">
                  <c:v>0.25204661465857653</c:v>
                </c:pt>
                <c:pt idx="58">
                  <c:v>0.24066240662406624</c:v>
                </c:pt>
                <c:pt idx="59">
                  <c:v>0.24102876010079069</c:v>
                </c:pt>
                <c:pt idx="60">
                  <c:v>0.25375184950327628</c:v>
                </c:pt>
                <c:pt idx="61">
                  <c:v>0.27649375107002228</c:v>
                </c:pt>
                <c:pt idx="62">
                  <c:v>0.22803427548279831</c:v>
                </c:pt>
                <c:pt idx="63">
                  <c:v>0.22585877862595419</c:v>
                </c:pt>
                <c:pt idx="64">
                  <c:v>0.2749300209937019</c:v>
                </c:pt>
                <c:pt idx="65">
                  <c:v>0.24403450807635829</c:v>
                </c:pt>
                <c:pt idx="66">
                  <c:v>0.25219170075978958</c:v>
                </c:pt>
                <c:pt idx="67">
                  <c:v>0.26147293212420997</c:v>
                </c:pt>
                <c:pt idx="68">
                  <c:v>0.23429895712630358</c:v>
                </c:pt>
                <c:pt idx="69">
                  <c:v>0.18898186889818688</c:v>
                </c:pt>
                <c:pt idx="70">
                  <c:v>0.20346237991058688</c:v>
                </c:pt>
                <c:pt idx="71">
                  <c:v>0.20615927814829346</c:v>
                </c:pt>
                <c:pt idx="72">
                  <c:v>0.21140565827578525</c:v>
                </c:pt>
                <c:pt idx="73">
                  <c:v>0.20773769003857501</c:v>
                </c:pt>
                <c:pt idx="74">
                  <c:v>0.23921568627450981</c:v>
                </c:pt>
                <c:pt idx="75">
                  <c:v>0.22230681385610962</c:v>
                </c:pt>
                <c:pt idx="76">
                  <c:v>0.15990793511617712</c:v>
                </c:pt>
                <c:pt idx="77">
                  <c:v>0.22331596216946537</c:v>
                </c:pt>
                <c:pt idx="78">
                  <c:v>0.18154410800891335</c:v>
                </c:pt>
                <c:pt idx="79">
                  <c:v>0.21179009847565089</c:v>
                </c:pt>
                <c:pt idx="80">
                  <c:v>0.21459406767859629</c:v>
                </c:pt>
                <c:pt idx="81">
                  <c:v>0.20522727272727273</c:v>
                </c:pt>
                <c:pt idx="82">
                  <c:v>0.21694782267555904</c:v>
                </c:pt>
                <c:pt idx="83">
                  <c:v>0.13315450643776824</c:v>
                </c:pt>
                <c:pt idx="84">
                  <c:v>0.19939201326516512</c:v>
                </c:pt>
                <c:pt idx="85">
                  <c:v>0.18338603046852545</c:v>
                </c:pt>
                <c:pt idx="86">
                  <c:v>0.16799479590177266</c:v>
                </c:pt>
                <c:pt idx="87">
                  <c:v>0.18488959829741952</c:v>
                </c:pt>
                <c:pt idx="88">
                  <c:v>0.22556032427277062</c:v>
                </c:pt>
                <c:pt idx="89">
                  <c:v>0.20234032179424671</c:v>
                </c:pt>
                <c:pt idx="90">
                  <c:v>0.11368257964558923</c:v>
                </c:pt>
                <c:pt idx="91">
                  <c:v>0.19199115587765631</c:v>
                </c:pt>
                <c:pt idx="92">
                  <c:v>0.17939903234020882</c:v>
                </c:pt>
                <c:pt idx="93">
                  <c:v>0.19811058627396499</c:v>
                </c:pt>
                <c:pt idx="94">
                  <c:v>0.20012062726176116</c:v>
                </c:pt>
                <c:pt idx="95">
                  <c:v>0.27102602710260271</c:v>
                </c:pt>
                <c:pt idx="96">
                  <c:v>0.16616957818491693</c:v>
                </c:pt>
                <c:pt idx="97">
                  <c:v>0.13127051101734646</c:v>
                </c:pt>
                <c:pt idx="98">
                  <c:v>0.18914130887869945</c:v>
                </c:pt>
                <c:pt idx="99">
                  <c:v>0.19942256135285627</c:v>
                </c:pt>
                <c:pt idx="100">
                  <c:v>0.20591264936135145</c:v>
                </c:pt>
                <c:pt idx="101">
                  <c:v>0.18817350357692655</c:v>
                </c:pt>
                <c:pt idx="102">
                  <c:v>0.21090967950793138</c:v>
                </c:pt>
                <c:pt idx="103">
                  <c:v>0.21830764391318025</c:v>
                </c:pt>
                <c:pt idx="104">
                  <c:v>0.13987523992322456</c:v>
                </c:pt>
                <c:pt idx="105">
                  <c:v>0.19706094916887498</c:v>
                </c:pt>
                <c:pt idx="106">
                  <c:v>0.18315101792768154</c:v>
                </c:pt>
                <c:pt idx="107">
                  <c:v>0.17423630192338774</c:v>
                </c:pt>
                <c:pt idx="108">
                  <c:v>0.18049480590486605</c:v>
                </c:pt>
                <c:pt idx="109">
                  <c:v>0.17809894385769873</c:v>
                </c:pt>
                <c:pt idx="110">
                  <c:v>0.1884004432951607</c:v>
                </c:pt>
                <c:pt idx="111">
                  <c:v>0.1472108358581358</c:v>
                </c:pt>
                <c:pt idx="112">
                  <c:v>0.17075922841330396</c:v>
                </c:pt>
                <c:pt idx="113">
                  <c:v>0.18467547803969661</c:v>
                </c:pt>
                <c:pt idx="114">
                  <c:v>0.23725800079020151</c:v>
                </c:pt>
                <c:pt idx="115">
                  <c:v>0.21934688847812692</c:v>
                </c:pt>
                <c:pt idx="116">
                  <c:v>0.18808436616655794</c:v>
                </c:pt>
                <c:pt idx="117">
                  <c:v>0.19632867132867132</c:v>
                </c:pt>
                <c:pt idx="118">
                  <c:v>0.20416379112031285</c:v>
                </c:pt>
                <c:pt idx="119">
                  <c:v>0.27039999999999997</c:v>
                </c:pt>
                <c:pt idx="120">
                  <c:v>0.27195388145743549</c:v>
                </c:pt>
                <c:pt idx="121">
                  <c:v>0.30299270072992701</c:v>
                </c:pt>
                <c:pt idx="122">
                  <c:v>0.35819430814524045</c:v>
                </c:pt>
                <c:pt idx="123">
                  <c:v>0.20611916264090177</c:v>
                </c:pt>
                <c:pt idx="124">
                  <c:v>0.26063829787234044</c:v>
                </c:pt>
                <c:pt idx="125">
                  <c:v>0.20012982473660559</c:v>
                </c:pt>
                <c:pt idx="126">
                  <c:v>0.25193122352354846</c:v>
                </c:pt>
                <c:pt idx="127">
                  <c:v>0.29280325014509578</c:v>
                </c:pt>
                <c:pt idx="128">
                  <c:v>0.26404047294224647</c:v>
                </c:pt>
                <c:pt idx="129">
                  <c:v>0.22732435502190493</c:v>
                </c:pt>
                <c:pt idx="130">
                  <c:v>0.28496757332300843</c:v>
                </c:pt>
                <c:pt idx="131">
                  <c:v>0.2374863558397006</c:v>
                </c:pt>
                <c:pt idx="132">
                  <c:v>0.15852588476162621</c:v>
                </c:pt>
                <c:pt idx="133">
                  <c:v>0.20768584628307435</c:v>
                </c:pt>
                <c:pt idx="134">
                  <c:v>0.2301396244583534</c:v>
                </c:pt>
                <c:pt idx="135">
                  <c:v>0.18193335867224122</c:v>
                </c:pt>
                <c:pt idx="136">
                  <c:v>0.21088435374149661</c:v>
                </c:pt>
                <c:pt idx="137">
                  <c:v>0.24360412926391384</c:v>
                </c:pt>
                <c:pt idx="138">
                  <c:v>0.22682614267407092</c:v>
                </c:pt>
                <c:pt idx="139">
                  <c:v>0.16238279095421954</c:v>
                </c:pt>
                <c:pt idx="140">
                  <c:v>0.22436218109054526</c:v>
                </c:pt>
                <c:pt idx="141">
                  <c:v>0.20710297975381717</c:v>
                </c:pt>
                <c:pt idx="142">
                  <c:v>0.20249410691202191</c:v>
                </c:pt>
                <c:pt idx="143">
                  <c:v>0.19700135184957601</c:v>
                </c:pt>
                <c:pt idx="144">
                  <c:v>0.2276411594999313</c:v>
                </c:pt>
                <c:pt idx="145">
                  <c:v>0.20824524312896406</c:v>
                </c:pt>
                <c:pt idx="146">
                  <c:v>0.15243243243243243</c:v>
                </c:pt>
                <c:pt idx="147">
                  <c:v>0.22562833206397562</c:v>
                </c:pt>
                <c:pt idx="148">
                  <c:v>0.18680314384938768</c:v>
                </c:pt>
                <c:pt idx="149">
                  <c:v>0.2228362279316779</c:v>
                </c:pt>
                <c:pt idx="150">
                  <c:v>0.19438329267567084</c:v>
                </c:pt>
                <c:pt idx="151">
                  <c:v>0.20875251509054327</c:v>
                </c:pt>
                <c:pt idx="152">
                  <c:v>0.2077895172985291</c:v>
                </c:pt>
                <c:pt idx="153">
                  <c:v>0.15215757835981109</c:v>
                </c:pt>
                <c:pt idx="154">
                  <c:v>0.20251855456868231</c:v>
                </c:pt>
                <c:pt idx="155">
                  <c:v>0.21895211535038273</c:v>
                </c:pt>
                <c:pt idx="156">
                  <c:v>0.19592157891285816</c:v>
                </c:pt>
                <c:pt idx="157">
                  <c:v>0.19216449968497623</c:v>
                </c:pt>
                <c:pt idx="158">
                  <c:v>0.24217386244617711</c:v>
                </c:pt>
                <c:pt idx="159">
                  <c:v>0.18211413251627728</c:v>
                </c:pt>
                <c:pt idx="160">
                  <c:v>0.16765851547284139</c:v>
                </c:pt>
                <c:pt idx="161">
                  <c:v>0.21926252063841498</c:v>
                </c:pt>
                <c:pt idx="162">
                  <c:v>0.20875221762270846</c:v>
                </c:pt>
                <c:pt idx="163">
                  <c:v>0.20791701139184116</c:v>
                </c:pt>
                <c:pt idx="164">
                  <c:v>0.19200944032366823</c:v>
                </c:pt>
                <c:pt idx="165">
                  <c:v>0.22018247773991426</c:v>
                </c:pt>
                <c:pt idx="166">
                  <c:v>0.20419918246005203</c:v>
                </c:pt>
                <c:pt idx="167">
                  <c:v>0.17596046703163606</c:v>
                </c:pt>
                <c:pt idx="168">
                  <c:v>0.23721047331319234</c:v>
                </c:pt>
                <c:pt idx="169">
                  <c:v>0.20517511761630947</c:v>
                </c:pt>
                <c:pt idx="170">
                  <c:v>0.21954249042542179</c:v>
                </c:pt>
                <c:pt idx="171">
                  <c:v>0.19464293946798211</c:v>
                </c:pt>
                <c:pt idx="172">
                  <c:v>0.25103182610290747</c:v>
                </c:pt>
                <c:pt idx="173">
                  <c:v>0.23137254901960785</c:v>
                </c:pt>
                <c:pt idx="174">
                  <c:v>0.18269385134050409</c:v>
                </c:pt>
                <c:pt idx="175">
                  <c:v>0.24415034848987721</c:v>
                </c:pt>
                <c:pt idx="176">
                  <c:v>0.20630059985737656</c:v>
                </c:pt>
                <c:pt idx="177">
                  <c:v>0.22712715312040163</c:v>
                </c:pt>
                <c:pt idx="178">
                  <c:v>0.20799422683718879</c:v>
                </c:pt>
                <c:pt idx="179">
                  <c:v>0.22192369693713057</c:v>
                </c:pt>
                <c:pt idx="180">
                  <c:v>0.21661833312318748</c:v>
                </c:pt>
                <c:pt idx="181">
                  <c:v>0.17688465031789283</c:v>
                </c:pt>
                <c:pt idx="182">
                  <c:v>0.22664030735946883</c:v>
                </c:pt>
                <c:pt idx="183">
                  <c:v>0.21552894211576845</c:v>
                </c:pt>
                <c:pt idx="184">
                  <c:v>0.19873422824202847</c:v>
                </c:pt>
                <c:pt idx="185">
                  <c:v>0.17349459788340277</c:v>
                </c:pt>
                <c:pt idx="186">
                  <c:v>0.26805424156417534</c:v>
                </c:pt>
                <c:pt idx="187">
                  <c:v>0.17666360414752591</c:v>
                </c:pt>
                <c:pt idx="188">
                  <c:v>0.13512454702752114</c:v>
                </c:pt>
                <c:pt idx="189">
                  <c:v>0.18555657482681176</c:v>
                </c:pt>
                <c:pt idx="190">
                  <c:v>0.17155341650307138</c:v>
                </c:pt>
                <c:pt idx="191">
                  <c:v>0.13430529427573232</c:v>
                </c:pt>
                <c:pt idx="192">
                  <c:v>0.17478664068274982</c:v>
                </c:pt>
                <c:pt idx="193">
                  <c:v>0.2252355375539315</c:v>
                </c:pt>
                <c:pt idx="194">
                  <c:v>0.16358146251805172</c:v>
                </c:pt>
                <c:pt idx="195">
                  <c:v>0.1265266797018901</c:v>
                </c:pt>
                <c:pt idx="196">
                  <c:v>0.16707913134937821</c:v>
                </c:pt>
                <c:pt idx="197">
                  <c:v>0.14785534611740878</c:v>
                </c:pt>
                <c:pt idx="198">
                  <c:v>0.13997368785486775</c:v>
                </c:pt>
                <c:pt idx="199">
                  <c:v>0.14181705522422741</c:v>
                </c:pt>
                <c:pt idx="200">
                  <c:v>0.21080518497492667</c:v>
                </c:pt>
                <c:pt idx="201">
                  <c:v>0.13390580974104388</c:v>
                </c:pt>
                <c:pt idx="202">
                  <c:v>0.10289434377025618</c:v>
                </c:pt>
                <c:pt idx="203">
                  <c:v>0.13827710328838996</c:v>
                </c:pt>
                <c:pt idx="204">
                  <c:v>0.11494779909706546</c:v>
                </c:pt>
                <c:pt idx="205">
                  <c:v>0.10994385075167543</c:v>
                </c:pt>
                <c:pt idx="206">
                  <c:v>0.12679937484576786</c:v>
                </c:pt>
                <c:pt idx="207">
                  <c:v>0.19411764705882353</c:v>
                </c:pt>
                <c:pt idx="208">
                  <c:v>0.13374188896899783</c:v>
                </c:pt>
                <c:pt idx="209">
                  <c:v>8.9370718681063513E-2</c:v>
                </c:pt>
                <c:pt idx="210">
                  <c:v>0.11673727388877682</c:v>
                </c:pt>
                <c:pt idx="211">
                  <c:v>9.9816289038579295E-2</c:v>
                </c:pt>
                <c:pt idx="212">
                  <c:v>8.2498408336963439E-2</c:v>
                </c:pt>
                <c:pt idx="213">
                  <c:v>0.15558623619371284</c:v>
                </c:pt>
                <c:pt idx="214">
                  <c:v>0.1659695499414422</c:v>
                </c:pt>
                <c:pt idx="215">
                  <c:v>0.15653637553768468</c:v>
                </c:pt>
                <c:pt idx="216">
                  <c:v>0.10001631587534671</c:v>
                </c:pt>
                <c:pt idx="217">
                  <c:v>6.1019991026471911E-2</c:v>
                </c:pt>
                <c:pt idx="218">
                  <c:v>8.9657763508436364E-2</c:v>
                </c:pt>
                <c:pt idx="219">
                  <c:v>7.9816672431684541E-2</c:v>
                </c:pt>
                <c:pt idx="220">
                  <c:v>9.568430070678946E-2</c:v>
                </c:pt>
                <c:pt idx="221">
                  <c:v>0.13389251320285803</c:v>
                </c:pt>
                <c:pt idx="222">
                  <c:v>7.6474872541879096E-2</c:v>
                </c:pt>
                <c:pt idx="223">
                  <c:v>6.5571299366897803E-2</c:v>
                </c:pt>
                <c:pt idx="224">
                  <c:v>9.20611930840952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04B-4CD1-9998-231B58E10F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</c:dateAx>
      <c:valAx>
        <c:axId val="414859336"/>
        <c:scaling>
          <c:orientation val="minMax"/>
          <c:max val="0.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  <c:pt idx="94">
                  <c:v>44291</c:v>
                </c:pt>
                <c:pt idx="95">
                  <c:v>44292</c:v>
                </c:pt>
                <c:pt idx="96">
                  <c:v>44293</c:v>
                </c:pt>
                <c:pt idx="97">
                  <c:v>44294</c:v>
                </c:pt>
                <c:pt idx="98">
                  <c:v>44295</c:v>
                </c:pt>
                <c:pt idx="99">
                  <c:v>44296</c:v>
                </c:pt>
                <c:pt idx="100">
                  <c:v>44297</c:v>
                </c:pt>
                <c:pt idx="101">
                  <c:v>44298</c:v>
                </c:pt>
                <c:pt idx="102">
                  <c:v>44299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755</c:v>
                </c:pt>
                <c:pt idx="1">
                  <c:v>1085</c:v>
                </c:pt>
                <c:pt idx="2">
                  <c:v>1163</c:v>
                </c:pt>
                <c:pt idx="3">
                  <c:v>2413</c:v>
                </c:pt>
                <c:pt idx="4">
                  <c:v>3136</c:v>
                </c:pt>
                <c:pt idx="5">
                  <c:v>3163</c:v>
                </c:pt>
                <c:pt idx="6">
                  <c:v>2944</c:v>
                </c:pt>
                <c:pt idx="7">
                  <c:v>2665</c:v>
                </c:pt>
                <c:pt idx="8">
                  <c:v>1664</c:v>
                </c:pt>
                <c:pt idx="9">
                  <c:v>813</c:v>
                </c:pt>
                <c:pt idx="10">
                  <c:v>1860</c:v>
                </c:pt>
                <c:pt idx="11">
                  <c:v>2027</c:v>
                </c:pt>
                <c:pt idx="12">
                  <c:v>2008</c:v>
                </c:pt>
                <c:pt idx="13">
                  <c:v>1496</c:v>
                </c:pt>
                <c:pt idx="14">
                  <c:v>1772</c:v>
                </c:pt>
                <c:pt idx="15">
                  <c:v>921</c:v>
                </c:pt>
                <c:pt idx="16">
                  <c:v>507</c:v>
                </c:pt>
                <c:pt idx="17">
                  <c:v>1340</c:v>
                </c:pt>
                <c:pt idx="18">
                  <c:v>1594</c:v>
                </c:pt>
                <c:pt idx="19">
                  <c:v>1487</c:v>
                </c:pt>
                <c:pt idx="20">
                  <c:v>1326</c:v>
                </c:pt>
                <c:pt idx="21">
                  <c:v>1478</c:v>
                </c:pt>
                <c:pt idx="22">
                  <c:v>723</c:v>
                </c:pt>
                <c:pt idx="23">
                  <c:v>411</c:v>
                </c:pt>
                <c:pt idx="24">
                  <c:v>1238</c:v>
                </c:pt>
                <c:pt idx="25">
                  <c:v>1411</c:v>
                </c:pt>
                <c:pt idx="26">
                  <c:v>1444</c:v>
                </c:pt>
                <c:pt idx="27">
                  <c:v>1327</c:v>
                </c:pt>
                <c:pt idx="28">
                  <c:v>1333</c:v>
                </c:pt>
                <c:pt idx="29">
                  <c:v>665</c:v>
                </c:pt>
                <c:pt idx="30">
                  <c:v>449</c:v>
                </c:pt>
                <c:pt idx="31">
                  <c:v>1202</c:v>
                </c:pt>
                <c:pt idx="32">
                  <c:v>1438</c:v>
                </c:pt>
                <c:pt idx="33">
                  <c:v>1432</c:v>
                </c:pt>
                <c:pt idx="34">
                  <c:v>1328</c:v>
                </c:pt>
                <c:pt idx="35">
                  <c:v>1412</c:v>
                </c:pt>
                <c:pt idx="36">
                  <c:v>771</c:v>
                </c:pt>
                <c:pt idx="37">
                  <c:v>448</c:v>
                </c:pt>
                <c:pt idx="38">
                  <c:v>1122</c:v>
                </c:pt>
                <c:pt idx="39">
                  <c:v>1466</c:v>
                </c:pt>
                <c:pt idx="40">
                  <c:v>1383</c:v>
                </c:pt>
                <c:pt idx="41">
                  <c:v>1387</c:v>
                </c:pt>
                <c:pt idx="42">
                  <c:v>1328</c:v>
                </c:pt>
                <c:pt idx="43">
                  <c:v>728</c:v>
                </c:pt>
                <c:pt idx="44">
                  <c:v>457</c:v>
                </c:pt>
                <c:pt idx="45">
                  <c:v>1302</c:v>
                </c:pt>
                <c:pt idx="46">
                  <c:v>1761</c:v>
                </c:pt>
                <c:pt idx="47">
                  <c:v>1459</c:v>
                </c:pt>
                <c:pt idx="48">
                  <c:v>1600</c:v>
                </c:pt>
                <c:pt idx="49">
                  <c:v>1717</c:v>
                </c:pt>
                <c:pt idx="50">
                  <c:v>945</c:v>
                </c:pt>
                <c:pt idx="51">
                  <c:v>581</c:v>
                </c:pt>
                <c:pt idx="52">
                  <c:v>1633</c:v>
                </c:pt>
                <c:pt idx="53">
                  <c:v>2109</c:v>
                </c:pt>
                <c:pt idx="54">
                  <c:v>1927</c:v>
                </c:pt>
                <c:pt idx="55">
                  <c:v>2007</c:v>
                </c:pt>
                <c:pt idx="56">
                  <c:v>2094</c:v>
                </c:pt>
                <c:pt idx="57">
                  <c:v>1051</c:v>
                </c:pt>
                <c:pt idx="58">
                  <c:v>657</c:v>
                </c:pt>
                <c:pt idx="59">
                  <c:v>1851</c:v>
                </c:pt>
                <c:pt idx="60">
                  <c:v>2400</c:v>
                </c:pt>
                <c:pt idx="61">
                  <c:v>2168</c:v>
                </c:pt>
                <c:pt idx="62">
                  <c:v>2054</c:v>
                </c:pt>
                <c:pt idx="63">
                  <c:v>1878</c:v>
                </c:pt>
                <c:pt idx="64">
                  <c:v>1311</c:v>
                </c:pt>
                <c:pt idx="65">
                  <c:v>645</c:v>
                </c:pt>
                <c:pt idx="66">
                  <c:v>1544</c:v>
                </c:pt>
                <c:pt idx="67">
                  <c:v>1984</c:v>
                </c:pt>
                <c:pt idx="68">
                  <c:v>2017</c:v>
                </c:pt>
                <c:pt idx="69">
                  <c:v>1628</c:v>
                </c:pt>
                <c:pt idx="70">
                  <c:v>2249</c:v>
                </c:pt>
                <c:pt idx="71">
                  <c:v>980</c:v>
                </c:pt>
                <c:pt idx="72">
                  <c:v>542</c:v>
                </c:pt>
                <c:pt idx="73">
                  <c:v>1625</c:v>
                </c:pt>
                <c:pt idx="74">
                  <c:v>2051</c:v>
                </c:pt>
                <c:pt idx="75">
                  <c:v>1788</c:v>
                </c:pt>
                <c:pt idx="76">
                  <c:v>1586</c:v>
                </c:pt>
                <c:pt idx="77">
                  <c:v>1430</c:v>
                </c:pt>
                <c:pt idx="78">
                  <c:v>843</c:v>
                </c:pt>
                <c:pt idx="79">
                  <c:v>440</c:v>
                </c:pt>
                <c:pt idx="80">
                  <c:v>1212</c:v>
                </c:pt>
                <c:pt idx="81">
                  <c:v>1623</c:v>
                </c:pt>
                <c:pt idx="82">
                  <c:v>1319</c:v>
                </c:pt>
                <c:pt idx="83">
                  <c:v>1288</c:v>
                </c:pt>
                <c:pt idx="84">
                  <c:v>1176</c:v>
                </c:pt>
                <c:pt idx="85">
                  <c:v>642</c:v>
                </c:pt>
                <c:pt idx="86">
                  <c:v>326</c:v>
                </c:pt>
                <c:pt idx="87">
                  <c:v>1117</c:v>
                </c:pt>
                <c:pt idx="88">
                  <c:v>1294</c:v>
                </c:pt>
                <c:pt idx="89">
                  <c:v>1198</c:v>
                </c:pt>
                <c:pt idx="90">
                  <c:v>995</c:v>
                </c:pt>
                <c:pt idx="91">
                  <c:v>550</c:v>
                </c:pt>
                <c:pt idx="92">
                  <c:v>380</c:v>
                </c:pt>
                <c:pt idx="93">
                  <c:v>329</c:v>
                </c:pt>
                <c:pt idx="94">
                  <c:v>291</c:v>
                </c:pt>
                <c:pt idx="95">
                  <c:v>816</c:v>
                </c:pt>
                <c:pt idx="96">
                  <c:v>981</c:v>
                </c:pt>
                <c:pt idx="97">
                  <c:v>781</c:v>
                </c:pt>
                <c:pt idx="98">
                  <c:v>720</c:v>
                </c:pt>
                <c:pt idx="99">
                  <c:v>363</c:v>
                </c:pt>
                <c:pt idx="100">
                  <c:v>203</c:v>
                </c:pt>
                <c:pt idx="101">
                  <c:v>579</c:v>
                </c:pt>
                <c:pt idx="102">
                  <c:v>6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B9-4327-A86E-126F381246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272</c:v>
                </c:pt>
                <c:pt idx="1">
                  <c:v>8454</c:v>
                </c:pt>
                <c:pt idx="2">
                  <c:v>8397</c:v>
                </c:pt>
                <c:pt idx="3">
                  <c:v>8400</c:v>
                </c:pt>
                <c:pt idx="4">
                  <c:v>8459</c:v>
                </c:pt>
                <c:pt idx="5">
                  <c:v>8112</c:v>
                </c:pt>
                <c:pt idx="6">
                  <c:v>8339</c:v>
                </c:pt>
                <c:pt idx="7">
                  <c:v>9013</c:v>
                </c:pt>
                <c:pt idx="8">
                  <c:v>8984</c:v>
                </c:pt>
                <c:pt idx="9">
                  <c:v>9004</c:v>
                </c:pt>
                <c:pt idx="10">
                  <c:v>8965</c:v>
                </c:pt>
                <c:pt idx="11">
                  <c:v>8934</c:v>
                </c:pt>
                <c:pt idx="12">
                  <c:v>8537</c:v>
                </c:pt>
                <c:pt idx="13">
                  <c:v>8751</c:v>
                </c:pt>
                <c:pt idx="14">
                  <c:v>9467</c:v>
                </c:pt>
                <c:pt idx="15">
                  <c:v>9337</c:v>
                </c:pt>
                <c:pt idx="16">
                  <c:v>9167</c:v>
                </c:pt>
                <c:pt idx="17">
                  <c:v>8966</c:v>
                </c:pt>
                <c:pt idx="18">
                  <c:v>8774</c:v>
                </c:pt>
                <c:pt idx="19">
                  <c:v>8222</c:v>
                </c:pt>
                <c:pt idx="20">
                  <c:v>8337</c:v>
                </c:pt>
                <c:pt idx="21">
                  <c:v>8974</c:v>
                </c:pt>
                <c:pt idx="22">
                  <c:v>8643</c:v>
                </c:pt>
                <c:pt idx="23">
                  <c:v>8323</c:v>
                </c:pt>
                <c:pt idx="24">
                  <c:v>8174</c:v>
                </c:pt>
                <c:pt idx="25">
                  <c:v>8050</c:v>
                </c:pt>
                <c:pt idx="26">
                  <c:v>7535</c:v>
                </c:pt>
                <c:pt idx="27">
                  <c:v>7583</c:v>
                </c:pt>
                <c:pt idx="28">
                  <c:v>8125</c:v>
                </c:pt>
                <c:pt idx="29">
                  <c:v>7850</c:v>
                </c:pt>
                <c:pt idx="30">
                  <c:v>7530</c:v>
                </c:pt>
                <c:pt idx="31">
                  <c:v>7228</c:v>
                </c:pt>
                <c:pt idx="32">
                  <c:v>6391</c:v>
                </c:pt>
                <c:pt idx="33">
                  <c:v>6235</c:v>
                </c:pt>
                <c:pt idx="34">
                  <c:v>6328</c:v>
                </c:pt>
                <c:pt idx="35">
                  <c:v>6399</c:v>
                </c:pt>
                <c:pt idx="36">
                  <c:v>7086</c:v>
                </c:pt>
                <c:pt idx="37">
                  <c:v>6729</c:v>
                </c:pt>
                <c:pt idx="38">
                  <c:v>6253</c:v>
                </c:pt>
                <c:pt idx="39">
                  <c:v>5938</c:v>
                </c:pt>
                <c:pt idx="40">
                  <c:v>5306</c:v>
                </c:pt>
                <c:pt idx="41">
                  <c:v>5275</c:v>
                </c:pt>
                <c:pt idx="42">
                  <c:v>5551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C4-4C7D-A46E-B9CFA22B4B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7346.4879573838834</c:v>
                </c:pt>
                <c:pt idx="32">
                  <c:v>7170.0064377452973</c:v>
                </c:pt>
                <c:pt idx="33">
                  <c:v>6989.7877903759017</c:v>
                </c:pt>
                <c:pt idx="34">
                  <c:v>6815.2995642743736</c:v>
                </c:pt>
                <c:pt idx="35">
                  <c:v>6643.7396875911763</c:v>
                </c:pt>
                <c:pt idx="36">
                  <c:v>6471.8590522637969</c:v>
                </c:pt>
                <c:pt idx="37">
                  <c:v>6301.9657010734736</c:v>
                </c:pt>
                <c:pt idx="38">
                  <c:v>6130.7964568235693</c:v>
                </c:pt>
                <c:pt idx="39">
                  <c:v>5955.6341215840475</c:v>
                </c:pt>
                <c:pt idx="40">
                  <c:v>5779.1811987865312</c:v>
                </c:pt>
                <c:pt idx="41">
                  <c:v>5603.0466812152017</c:v>
                </c:pt>
                <c:pt idx="42">
                  <c:v>5424.4975767620335</c:v>
                </c:pt>
                <c:pt idx="43">
                  <c:v>5242.6157862713262</c:v>
                </c:pt>
                <c:pt idx="44">
                  <c:v>5059.6774939008719</c:v>
                </c:pt>
                <c:pt idx="45">
                  <c:v>4876.989409061167</c:v>
                </c:pt>
                <c:pt idx="46">
                  <c:v>4696.2160513404879</c:v>
                </c:pt>
                <c:pt idx="47">
                  <c:v>4518.0856342378856</c:v>
                </c:pt>
                <c:pt idx="48">
                  <c:v>4342.538385775586</c:v>
                </c:pt>
                <c:pt idx="49">
                  <c:v>4168.230104141684</c:v>
                </c:pt>
                <c:pt idx="50">
                  <c:v>3996.1161037365364</c:v>
                </c:pt>
                <c:pt idx="51">
                  <c:v>3828.035495509002</c:v>
                </c:pt>
                <c:pt idx="52">
                  <c:v>3664.4067003691898</c:v>
                </c:pt>
                <c:pt idx="53">
                  <c:v>3505.8406400109211</c:v>
                </c:pt>
                <c:pt idx="54">
                  <c:v>3352.1608032909389</c:v>
                </c:pt>
                <c:pt idx="55">
                  <c:v>3203.816005256851</c:v>
                </c:pt>
                <c:pt idx="56">
                  <c:v>3060.3014328954155</c:v>
                </c:pt>
                <c:pt idx="57">
                  <c:v>2921.9641476191214</c:v>
                </c:pt>
                <c:pt idx="58">
                  <c:v>2788.7865861819605</c:v>
                </c:pt>
                <c:pt idx="59">
                  <c:v>2660.5743671930536</c:v>
                </c:pt>
                <c:pt idx="60">
                  <c:v>2537.61339141343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AC4-4C7D-A46E-B9CFA22B4B7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7359.1487400988754</c:v>
                </c:pt>
                <c:pt idx="32">
                  <c:v>7205.0885308419947</c:v>
                </c:pt>
                <c:pt idx="33">
                  <c:v>7053.3694681235784</c:v>
                </c:pt>
                <c:pt idx="34">
                  <c:v>6911.0531346519101</c:v>
                </c:pt>
                <c:pt idx="35">
                  <c:v>6776.1091415651281</c:v>
                </c:pt>
                <c:pt idx="36">
                  <c:v>6646.1347401229223</c:v>
                </c:pt>
                <c:pt idx="37">
                  <c:v>6523.895107159472</c:v>
                </c:pt>
                <c:pt idx="38">
                  <c:v>6406.2383290128155</c:v>
                </c:pt>
                <c:pt idx="39">
                  <c:v>6288.142417912637</c:v>
                </c:pt>
                <c:pt idx="40">
                  <c:v>6170.9172249777539</c:v>
                </c:pt>
                <c:pt idx="41">
                  <c:v>6055.4780215670071</c:v>
                </c:pt>
                <c:pt idx="42">
                  <c:v>5938.7968252177707</c:v>
                </c:pt>
                <c:pt idx="43">
                  <c:v>5819.3191674173222</c:v>
                </c:pt>
                <c:pt idx="44">
                  <c:v>5698.6855597230287</c:v>
                </c:pt>
                <c:pt idx="45">
                  <c:v>5577.4418957254657</c:v>
                </c:pt>
                <c:pt idx="46">
                  <c:v>5456.3998734071538</c:v>
                </c:pt>
                <c:pt idx="47">
                  <c:v>5335.9384743855671</c:v>
                </c:pt>
                <c:pt idx="48">
                  <c:v>5215.7856838108237</c:v>
                </c:pt>
                <c:pt idx="49">
                  <c:v>5094.4383769703891</c:v>
                </c:pt>
                <c:pt idx="50">
                  <c:v>4972.623913851663</c:v>
                </c:pt>
                <c:pt idx="51">
                  <c:v>4851.8472203581823</c:v>
                </c:pt>
                <c:pt idx="52">
                  <c:v>4732.3085922125483</c:v>
                </c:pt>
                <c:pt idx="53">
                  <c:v>4614.4749860336451</c:v>
                </c:pt>
                <c:pt idx="54">
                  <c:v>4498.2354309702605</c:v>
                </c:pt>
                <c:pt idx="55">
                  <c:v>4384.1393230382091</c:v>
                </c:pt>
                <c:pt idx="56">
                  <c:v>4271.6854349783744</c:v>
                </c:pt>
                <c:pt idx="57">
                  <c:v>4161.2590118095832</c:v>
                </c:pt>
                <c:pt idx="58">
                  <c:v>4052.9094442847068</c:v>
                </c:pt>
                <c:pt idx="59">
                  <c:v>3946.5181470008201</c:v>
                </c:pt>
                <c:pt idx="60">
                  <c:v>3842.50960443031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C4-4C7D-A46E-B9CFA22B4B7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7371.80952281387</c:v>
                </c:pt>
                <c:pt idx="32">
                  <c:v>7240.2104377208161</c:v>
                </c:pt>
                <c:pt idx="33">
                  <c:v>7117.0779933943268</c:v>
                </c:pt>
                <c:pt idx="34">
                  <c:v>7006.9896895826942</c:v>
                </c:pt>
                <c:pt idx="35">
                  <c:v>6909.3497764030908</c:v>
                </c:pt>
                <c:pt idx="36">
                  <c:v>6823.0439394995847</c:v>
                </c:pt>
                <c:pt idx="37">
                  <c:v>6751.6569816162273</c:v>
                </c:pt>
                <c:pt idx="38">
                  <c:v>6692.3068667328498</c:v>
                </c:pt>
                <c:pt idx="39">
                  <c:v>6637.5106256231893</c:v>
                </c:pt>
                <c:pt idx="40">
                  <c:v>6587.0938183800581</c:v>
                </c:pt>
                <c:pt idx="41">
                  <c:v>6541.5941291713798</c:v>
                </c:pt>
                <c:pt idx="42">
                  <c:v>6498.1469237986676</c:v>
                </c:pt>
                <c:pt idx="43">
                  <c:v>6454.8632429166037</c:v>
                </c:pt>
                <c:pt idx="44">
                  <c:v>6412.5304278255144</c:v>
                </c:pt>
                <c:pt idx="45">
                  <c:v>6370.8005267828094</c:v>
                </c:pt>
                <c:pt idx="46">
                  <c:v>6329.613770872741</c:v>
                </c:pt>
                <c:pt idx="47">
                  <c:v>6288.9917878197111</c:v>
                </c:pt>
                <c:pt idx="48">
                  <c:v>6248.561465378255</c:v>
                </c:pt>
                <c:pt idx="49">
                  <c:v>6206.6689206612764</c:v>
                </c:pt>
                <c:pt idx="50">
                  <c:v>6163.518700866417</c:v>
                </c:pt>
                <c:pt idx="51">
                  <c:v>6120.1656733168611</c:v>
                </c:pt>
                <c:pt idx="52">
                  <c:v>6076.5031273307877</c:v>
                </c:pt>
                <c:pt idx="53">
                  <c:v>6032.8033107301353</c:v>
                </c:pt>
                <c:pt idx="54">
                  <c:v>5988.9062310083582</c:v>
                </c:pt>
                <c:pt idx="55">
                  <c:v>5945.3046391626867</c:v>
                </c:pt>
                <c:pt idx="56">
                  <c:v>5901.4128922168784</c:v>
                </c:pt>
                <c:pt idx="57">
                  <c:v>5857.4566871165125</c:v>
                </c:pt>
                <c:pt idx="58">
                  <c:v>5813.4209416048061</c:v>
                </c:pt>
                <c:pt idx="59">
                  <c:v>5769.1524804969513</c:v>
                </c:pt>
                <c:pt idx="60">
                  <c:v>5725.07866728081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AC4-4C7D-A46E-B9CFA22B4B75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156</c:v>
                </c:pt>
                <c:pt idx="1">
                  <c:v>8156</c:v>
                </c:pt>
                <c:pt idx="2">
                  <c:v>8156</c:v>
                </c:pt>
                <c:pt idx="3">
                  <c:v>8156</c:v>
                </c:pt>
                <c:pt idx="4">
                  <c:v>8156</c:v>
                </c:pt>
                <c:pt idx="5">
                  <c:v>8156</c:v>
                </c:pt>
                <c:pt idx="6">
                  <c:v>8156</c:v>
                </c:pt>
                <c:pt idx="7">
                  <c:v>8156</c:v>
                </c:pt>
                <c:pt idx="8">
                  <c:v>8156</c:v>
                </c:pt>
                <c:pt idx="9">
                  <c:v>8156</c:v>
                </c:pt>
                <c:pt idx="10">
                  <c:v>8156</c:v>
                </c:pt>
                <c:pt idx="11">
                  <c:v>8156</c:v>
                </c:pt>
                <c:pt idx="12">
                  <c:v>8156</c:v>
                </c:pt>
                <c:pt idx="13">
                  <c:v>8156</c:v>
                </c:pt>
                <c:pt idx="14">
                  <c:v>8156</c:v>
                </c:pt>
                <c:pt idx="15">
                  <c:v>8156</c:v>
                </c:pt>
                <c:pt idx="16">
                  <c:v>8156</c:v>
                </c:pt>
                <c:pt idx="17">
                  <c:v>8156</c:v>
                </c:pt>
                <c:pt idx="18">
                  <c:v>8156</c:v>
                </c:pt>
                <c:pt idx="19">
                  <c:v>8156</c:v>
                </c:pt>
                <c:pt idx="20">
                  <c:v>8156</c:v>
                </c:pt>
                <c:pt idx="21">
                  <c:v>8156</c:v>
                </c:pt>
                <c:pt idx="22">
                  <c:v>8156</c:v>
                </c:pt>
                <c:pt idx="23">
                  <c:v>8156</c:v>
                </c:pt>
                <c:pt idx="24">
                  <c:v>8156</c:v>
                </c:pt>
                <c:pt idx="25">
                  <c:v>8156</c:v>
                </c:pt>
                <c:pt idx="26">
                  <c:v>8156</c:v>
                </c:pt>
                <c:pt idx="27">
                  <c:v>8156</c:v>
                </c:pt>
                <c:pt idx="28">
                  <c:v>8156</c:v>
                </c:pt>
                <c:pt idx="29">
                  <c:v>8156</c:v>
                </c:pt>
                <c:pt idx="30">
                  <c:v>8156</c:v>
                </c:pt>
                <c:pt idx="31">
                  <c:v>8156</c:v>
                </c:pt>
                <c:pt idx="32">
                  <c:v>8156</c:v>
                </c:pt>
                <c:pt idx="33">
                  <c:v>8156</c:v>
                </c:pt>
                <c:pt idx="34">
                  <c:v>8156</c:v>
                </c:pt>
                <c:pt idx="35">
                  <c:v>8156</c:v>
                </c:pt>
                <c:pt idx="36">
                  <c:v>8156</c:v>
                </c:pt>
                <c:pt idx="37">
                  <c:v>8156</c:v>
                </c:pt>
                <c:pt idx="38">
                  <c:v>8156</c:v>
                </c:pt>
                <c:pt idx="39">
                  <c:v>8156</c:v>
                </c:pt>
                <c:pt idx="40">
                  <c:v>8156</c:v>
                </c:pt>
                <c:pt idx="41">
                  <c:v>8156</c:v>
                </c:pt>
                <c:pt idx="42">
                  <c:v>8156</c:v>
                </c:pt>
                <c:pt idx="43">
                  <c:v>8156</c:v>
                </c:pt>
                <c:pt idx="44">
                  <c:v>8156</c:v>
                </c:pt>
                <c:pt idx="45">
                  <c:v>8156</c:v>
                </c:pt>
                <c:pt idx="46">
                  <c:v>8156</c:v>
                </c:pt>
                <c:pt idx="47">
                  <c:v>8156</c:v>
                </c:pt>
                <c:pt idx="48">
                  <c:v>8156</c:v>
                </c:pt>
                <c:pt idx="49">
                  <c:v>8156</c:v>
                </c:pt>
                <c:pt idx="50">
                  <c:v>8156</c:v>
                </c:pt>
                <c:pt idx="51">
                  <c:v>8156</c:v>
                </c:pt>
                <c:pt idx="52">
                  <c:v>8156</c:v>
                </c:pt>
                <c:pt idx="53">
                  <c:v>8156</c:v>
                </c:pt>
                <c:pt idx="54">
                  <c:v>8156</c:v>
                </c:pt>
                <c:pt idx="55">
                  <c:v>8156</c:v>
                </c:pt>
                <c:pt idx="56">
                  <c:v>8156</c:v>
                </c:pt>
                <c:pt idx="57">
                  <c:v>8156</c:v>
                </c:pt>
                <c:pt idx="58">
                  <c:v>8156</c:v>
                </c:pt>
                <c:pt idx="59">
                  <c:v>8156</c:v>
                </c:pt>
                <c:pt idx="60">
                  <c:v>81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C4-4C7D-A46E-B9CFA22B4B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88</c:v>
                </c:pt>
                <c:pt idx="1">
                  <c:v>1600</c:v>
                </c:pt>
                <c:pt idx="2">
                  <c:v>1626</c:v>
                </c:pt>
                <c:pt idx="3">
                  <c:v>1651</c:v>
                </c:pt>
                <c:pt idx="4">
                  <c:v>1671</c:v>
                </c:pt>
                <c:pt idx="5">
                  <c:v>1674</c:v>
                </c:pt>
                <c:pt idx="6">
                  <c:v>1678</c:v>
                </c:pt>
                <c:pt idx="7">
                  <c:v>1772</c:v>
                </c:pt>
                <c:pt idx="8">
                  <c:v>1801</c:v>
                </c:pt>
                <c:pt idx="9">
                  <c:v>1831</c:v>
                </c:pt>
                <c:pt idx="10">
                  <c:v>1820</c:v>
                </c:pt>
                <c:pt idx="11">
                  <c:v>1834</c:v>
                </c:pt>
                <c:pt idx="12">
                  <c:v>1783</c:v>
                </c:pt>
                <c:pt idx="13">
                  <c:v>1830</c:v>
                </c:pt>
                <c:pt idx="14">
                  <c:v>1888</c:v>
                </c:pt>
                <c:pt idx="15">
                  <c:v>1895</c:v>
                </c:pt>
                <c:pt idx="16">
                  <c:v>1862</c:v>
                </c:pt>
                <c:pt idx="17">
                  <c:v>1862</c:v>
                </c:pt>
                <c:pt idx="18">
                  <c:v>1821</c:v>
                </c:pt>
                <c:pt idx="19">
                  <c:v>1783</c:v>
                </c:pt>
                <c:pt idx="20">
                  <c:v>1807</c:v>
                </c:pt>
                <c:pt idx="21">
                  <c:v>1825</c:v>
                </c:pt>
                <c:pt idx="22">
                  <c:v>1780</c:v>
                </c:pt>
                <c:pt idx="23">
                  <c:v>1747</c:v>
                </c:pt>
                <c:pt idx="24">
                  <c:v>1747</c:v>
                </c:pt>
                <c:pt idx="25">
                  <c:v>1686</c:v>
                </c:pt>
                <c:pt idx="26">
                  <c:v>1652</c:v>
                </c:pt>
                <c:pt idx="27">
                  <c:v>1660</c:v>
                </c:pt>
                <c:pt idx="28">
                  <c:v>1668</c:v>
                </c:pt>
                <c:pt idx="29">
                  <c:v>1619</c:v>
                </c:pt>
                <c:pt idx="30">
                  <c:v>1561</c:v>
                </c:pt>
                <c:pt idx="31">
                  <c:v>1516</c:v>
                </c:pt>
                <c:pt idx="32">
                  <c:v>1432</c:v>
                </c:pt>
                <c:pt idx="33">
                  <c:v>1406</c:v>
                </c:pt>
                <c:pt idx="34">
                  <c:v>1386</c:v>
                </c:pt>
                <c:pt idx="35">
                  <c:v>1357</c:v>
                </c:pt>
                <c:pt idx="36">
                  <c:v>1408</c:v>
                </c:pt>
                <c:pt idx="37">
                  <c:v>1384</c:v>
                </c:pt>
                <c:pt idx="38">
                  <c:v>1333</c:v>
                </c:pt>
                <c:pt idx="39">
                  <c:v>1252</c:v>
                </c:pt>
                <c:pt idx="40">
                  <c:v>1236</c:v>
                </c:pt>
                <c:pt idx="41">
                  <c:v>1221</c:v>
                </c:pt>
                <c:pt idx="42">
                  <c:v>120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E8-4641-AE4B-C0FA008423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530.2191397925492</c:v>
                </c:pt>
                <c:pt idx="32">
                  <c:v>1496.375196120415</c:v>
                </c:pt>
                <c:pt idx="33">
                  <c:v>1462.9106233174198</c:v>
                </c:pt>
                <c:pt idx="34">
                  <c:v>1430.8212562313993</c:v>
                </c:pt>
                <c:pt idx="35">
                  <c:v>1399.7801552886681</c:v>
                </c:pt>
                <c:pt idx="36">
                  <c:v>1369.2191766887213</c:v>
                </c:pt>
                <c:pt idx="37">
                  <c:v>1338.8762059004825</c:v>
                </c:pt>
                <c:pt idx="38">
                  <c:v>1309.0435564479278</c:v>
                </c:pt>
                <c:pt idx="39">
                  <c:v>1278.9122585332334</c:v>
                </c:pt>
                <c:pt idx="40">
                  <c:v>1248.1905271099413</c:v>
                </c:pt>
                <c:pt idx="41">
                  <c:v>1217.2879555428667</c:v>
                </c:pt>
                <c:pt idx="42">
                  <c:v>1185.7562747416152</c:v>
                </c:pt>
                <c:pt idx="43">
                  <c:v>1153.4204530842198</c:v>
                </c:pt>
                <c:pt idx="44">
                  <c:v>1120.3644613469446</c:v>
                </c:pt>
                <c:pt idx="45">
                  <c:v>1086.8226049174418</c:v>
                </c:pt>
                <c:pt idx="46">
                  <c:v>1053.0999138732045</c:v>
                </c:pt>
                <c:pt idx="47">
                  <c:v>1019.3109100344344</c:v>
                </c:pt>
                <c:pt idx="48">
                  <c:v>985.4354782666253</c:v>
                </c:pt>
                <c:pt idx="49">
                  <c:v>951.48201680966565</c:v>
                </c:pt>
                <c:pt idx="50">
                  <c:v>917.70108637994485</c:v>
                </c:pt>
                <c:pt idx="51">
                  <c:v>884.25294492896614</c:v>
                </c:pt>
                <c:pt idx="52">
                  <c:v>851.42170025383575</c:v>
                </c:pt>
                <c:pt idx="53">
                  <c:v>818.99779153161614</c:v>
                </c:pt>
                <c:pt idx="54">
                  <c:v>787.09799345402007</c:v>
                </c:pt>
                <c:pt idx="55">
                  <c:v>755.85630385895911</c:v>
                </c:pt>
                <c:pt idx="56">
                  <c:v>725.39827197834825</c:v>
                </c:pt>
                <c:pt idx="57">
                  <c:v>695.83094032708323</c:v>
                </c:pt>
                <c:pt idx="58">
                  <c:v>667.14453217629364</c:v>
                </c:pt>
                <c:pt idx="59">
                  <c:v>639.40531133780212</c:v>
                </c:pt>
                <c:pt idx="60">
                  <c:v>612.574857789807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E8-4641-AE4B-C0FA0084231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1531.5386658376153</c:v>
                </c:pt>
                <c:pt idx="32">
                  <c:v>1500.1887729458856</c:v>
                </c:pt>
                <c:pt idx="33">
                  <c:v>1470.1483655988056</c:v>
                </c:pt>
                <c:pt idx="34">
                  <c:v>1442.2467855418952</c:v>
                </c:pt>
                <c:pt idx="35">
                  <c:v>1416.2613467966798</c:v>
                </c:pt>
                <c:pt idx="36">
                  <c:v>1391.7296455071655</c:v>
                </c:pt>
                <c:pt idx="37">
                  <c:v>1368.4703481516135</c:v>
                </c:pt>
                <c:pt idx="38">
                  <c:v>1346.7968084630513</c:v>
                </c:pt>
                <c:pt idx="39">
                  <c:v>1325.6980801508812</c:v>
                </c:pt>
                <c:pt idx="40">
                  <c:v>1304.7063045381192</c:v>
                </c:pt>
                <c:pt idx="41">
                  <c:v>1284.1491915546394</c:v>
                </c:pt>
                <c:pt idx="42">
                  <c:v>1263.4973490472935</c:v>
                </c:pt>
                <c:pt idx="43">
                  <c:v>1242.4606938509155</c:v>
                </c:pt>
                <c:pt idx="44">
                  <c:v>1220.9944300601505</c:v>
                </c:pt>
                <c:pt idx="45">
                  <c:v>1199.195466714363</c:v>
                </c:pt>
                <c:pt idx="46">
                  <c:v>1177.2076642874563</c:v>
                </c:pt>
                <c:pt idx="47">
                  <c:v>1155.0388319036074</c:v>
                </c:pt>
                <c:pt idx="48">
                  <c:v>1132.5854717838488</c:v>
                </c:pt>
                <c:pt idx="49">
                  <c:v>1109.7891291041774</c:v>
                </c:pt>
                <c:pt idx="50">
                  <c:v>1086.8311280656749</c:v>
                </c:pt>
                <c:pt idx="51">
                  <c:v>1063.7889384182624</c:v>
                </c:pt>
                <c:pt idx="52">
                  <c:v>1040.8789051430983</c:v>
                </c:pt>
                <c:pt idx="53">
                  <c:v>1017.8437217519023</c:v>
                </c:pt>
                <c:pt idx="54">
                  <c:v>994.77991630954443</c:v>
                </c:pt>
                <c:pt idx="55">
                  <c:v>971.80888023787998</c:v>
                </c:pt>
                <c:pt idx="56">
                  <c:v>949.03548955262227</c:v>
                </c:pt>
                <c:pt idx="57">
                  <c:v>926.55647205745674</c:v>
                </c:pt>
                <c:pt idx="58">
                  <c:v>904.36125783888269</c:v>
                </c:pt>
                <c:pt idx="59">
                  <c:v>882.51795593194993</c:v>
                </c:pt>
                <c:pt idx="60">
                  <c:v>860.999862684778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E8-4641-AE4B-C0FA0084231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532.8581918826821</c:v>
                </c:pt>
                <c:pt idx="32">
                  <c:v>1504.0064992243281</c:v>
                </c:pt>
                <c:pt idx="33">
                  <c:v>1477.3998226745871</c:v>
                </c:pt>
                <c:pt idx="34">
                  <c:v>1453.6935129633644</c:v>
                </c:pt>
                <c:pt idx="35">
                  <c:v>1432.8378993938995</c:v>
                </c:pt>
                <c:pt idx="36">
                  <c:v>1414.5300961180217</c:v>
                </c:pt>
                <c:pt idx="37">
                  <c:v>1398.7214281344327</c:v>
                </c:pt>
                <c:pt idx="38">
                  <c:v>1385.7819034477932</c:v>
                </c:pt>
                <c:pt idx="39">
                  <c:v>1374.502306905232</c:v>
                </c:pt>
                <c:pt idx="40">
                  <c:v>1364.2453775160536</c:v>
                </c:pt>
                <c:pt idx="41">
                  <c:v>1355.3028614970808</c:v>
                </c:pt>
                <c:pt idx="42">
                  <c:v>1347.1253372823521</c:v>
                </c:pt>
                <c:pt idx="43">
                  <c:v>1339.3578031170907</c:v>
                </c:pt>
                <c:pt idx="44">
                  <c:v>1331.8237083445381</c:v>
                </c:pt>
                <c:pt idx="45">
                  <c:v>1324.4852904659108</c:v>
                </c:pt>
                <c:pt idx="46">
                  <c:v>1317.3350333755479</c:v>
                </c:pt>
                <c:pt idx="47">
                  <c:v>1310.2820339410723</c:v>
                </c:pt>
                <c:pt idx="48">
                  <c:v>1303.1574285782322</c:v>
                </c:pt>
                <c:pt idx="49">
                  <c:v>1295.8427422789994</c:v>
                </c:pt>
                <c:pt idx="50">
                  <c:v>1288.4229319450781</c:v>
                </c:pt>
                <c:pt idx="51">
                  <c:v>1280.8802704087643</c:v>
                </c:pt>
                <c:pt idx="52">
                  <c:v>1273.3506552378381</c:v>
                </c:pt>
                <c:pt idx="53">
                  <c:v>1265.5195836787725</c:v>
                </c:pt>
                <c:pt idx="54">
                  <c:v>1257.4464272439079</c:v>
                </c:pt>
                <c:pt idx="55">
                  <c:v>1249.2173097339878</c:v>
                </c:pt>
                <c:pt idx="56">
                  <c:v>1240.8989954278663</c:v>
                </c:pt>
                <c:pt idx="57">
                  <c:v>1232.5484583457223</c:v>
                </c:pt>
                <c:pt idx="58">
                  <c:v>1224.1298886776738</c:v>
                </c:pt>
                <c:pt idx="59">
                  <c:v>1215.6914310179739</c:v>
                </c:pt>
                <c:pt idx="60">
                  <c:v>1207.19277659129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9E8-4641-AE4B-C0FA0084231C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08</c:v>
                </c:pt>
                <c:pt idx="1">
                  <c:v>1208</c:v>
                </c:pt>
                <c:pt idx="2">
                  <c:v>1208</c:v>
                </c:pt>
                <c:pt idx="3">
                  <c:v>1208</c:v>
                </c:pt>
                <c:pt idx="4">
                  <c:v>1208</c:v>
                </c:pt>
                <c:pt idx="5">
                  <c:v>1208</c:v>
                </c:pt>
                <c:pt idx="6">
                  <c:v>1208</c:v>
                </c:pt>
                <c:pt idx="7">
                  <c:v>1208</c:v>
                </c:pt>
                <c:pt idx="8">
                  <c:v>1208</c:v>
                </c:pt>
                <c:pt idx="9">
                  <c:v>1208</c:v>
                </c:pt>
                <c:pt idx="10">
                  <c:v>1208</c:v>
                </c:pt>
                <c:pt idx="11">
                  <c:v>1208</c:v>
                </c:pt>
                <c:pt idx="12">
                  <c:v>1208</c:v>
                </c:pt>
                <c:pt idx="13">
                  <c:v>1208</c:v>
                </c:pt>
                <c:pt idx="14">
                  <c:v>1208</c:v>
                </c:pt>
                <c:pt idx="15">
                  <c:v>1208</c:v>
                </c:pt>
                <c:pt idx="16">
                  <c:v>1208</c:v>
                </c:pt>
                <c:pt idx="17">
                  <c:v>1208</c:v>
                </c:pt>
                <c:pt idx="18">
                  <c:v>1208</c:v>
                </c:pt>
                <c:pt idx="19">
                  <c:v>1208</c:v>
                </c:pt>
                <c:pt idx="20">
                  <c:v>1208</c:v>
                </c:pt>
                <c:pt idx="21">
                  <c:v>1208</c:v>
                </c:pt>
                <c:pt idx="22">
                  <c:v>1208</c:v>
                </c:pt>
                <c:pt idx="23">
                  <c:v>1208</c:v>
                </c:pt>
                <c:pt idx="24">
                  <c:v>1208</c:v>
                </c:pt>
                <c:pt idx="25">
                  <c:v>1208</c:v>
                </c:pt>
                <c:pt idx="26">
                  <c:v>1208</c:v>
                </c:pt>
                <c:pt idx="27">
                  <c:v>1208</c:v>
                </c:pt>
                <c:pt idx="28">
                  <c:v>1208</c:v>
                </c:pt>
                <c:pt idx="29">
                  <c:v>1208</c:v>
                </c:pt>
                <c:pt idx="30">
                  <c:v>1208</c:v>
                </c:pt>
                <c:pt idx="31">
                  <c:v>1208</c:v>
                </c:pt>
                <c:pt idx="32">
                  <c:v>1208</c:v>
                </c:pt>
                <c:pt idx="33">
                  <c:v>1208</c:v>
                </c:pt>
                <c:pt idx="34">
                  <c:v>1208</c:v>
                </c:pt>
                <c:pt idx="35">
                  <c:v>1208</c:v>
                </c:pt>
                <c:pt idx="36">
                  <c:v>1208</c:v>
                </c:pt>
                <c:pt idx="37">
                  <c:v>1208</c:v>
                </c:pt>
                <c:pt idx="38">
                  <c:v>1208</c:v>
                </c:pt>
                <c:pt idx="39">
                  <c:v>1208</c:v>
                </c:pt>
                <c:pt idx="40">
                  <c:v>1208</c:v>
                </c:pt>
                <c:pt idx="41">
                  <c:v>1208</c:v>
                </c:pt>
                <c:pt idx="42">
                  <c:v>1208</c:v>
                </c:pt>
                <c:pt idx="43">
                  <c:v>1208</c:v>
                </c:pt>
                <c:pt idx="44">
                  <c:v>1208</c:v>
                </c:pt>
                <c:pt idx="45">
                  <c:v>1208</c:v>
                </c:pt>
                <c:pt idx="46">
                  <c:v>1208</c:v>
                </c:pt>
                <c:pt idx="47">
                  <c:v>1208</c:v>
                </c:pt>
                <c:pt idx="48">
                  <c:v>1208</c:v>
                </c:pt>
                <c:pt idx="49">
                  <c:v>1208</c:v>
                </c:pt>
                <c:pt idx="50">
                  <c:v>1208</c:v>
                </c:pt>
                <c:pt idx="51">
                  <c:v>1208</c:v>
                </c:pt>
                <c:pt idx="52">
                  <c:v>1208</c:v>
                </c:pt>
                <c:pt idx="53">
                  <c:v>1208</c:v>
                </c:pt>
                <c:pt idx="54">
                  <c:v>1208</c:v>
                </c:pt>
                <c:pt idx="55">
                  <c:v>1208</c:v>
                </c:pt>
                <c:pt idx="56">
                  <c:v>1208</c:v>
                </c:pt>
                <c:pt idx="57">
                  <c:v>1208</c:v>
                </c:pt>
                <c:pt idx="58">
                  <c:v>1208</c:v>
                </c:pt>
                <c:pt idx="59">
                  <c:v>1208</c:v>
                </c:pt>
                <c:pt idx="60">
                  <c:v>12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9E8-4641-AE4B-C0FA008423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4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2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1</c:v>
                </c:pt>
                <c:pt idx="27">
                  <c:v>10936</c:v>
                </c:pt>
                <c:pt idx="28">
                  <c:v>16475</c:v>
                </c:pt>
                <c:pt idx="29">
                  <c:v>17061</c:v>
                </c:pt>
                <c:pt idx="30">
                  <c:v>13307</c:v>
                </c:pt>
                <c:pt idx="31">
                  <c:v>3446</c:v>
                </c:pt>
                <c:pt idx="32">
                  <c:v>4985</c:v>
                </c:pt>
                <c:pt idx="33">
                  <c:v>6267</c:v>
                </c:pt>
                <c:pt idx="34">
                  <c:v>12955</c:v>
                </c:pt>
                <c:pt idx="35">
                  <c:v>17398</c:v>
                </c:pt>
                <c:pt idx="36">
                  <c:v>17770</c:v>
                </c:pt>
                <c:pt idx="37">
                  <c:v>14882</c:v>
                </c:pt>
                <c:pt idx="38">
                  <c:v>13099</c:v>
                </c:pt>
                <c:pt idx="39">
                  <c:v>8437</c:v>
                </c:pt>
                <c:pt idx="40">
                  <c:v>4313</c:v>
                </c:pt>
                <c:pt idx="41">
                  <c:v>9384</c:v>
                </c:pt>
                <c:pt idx="42">
                  <c:v>10810</c:v>
                </c:pt>
                <c:pt idx="43">
                  <c:v>10918</c:v>
                </c:pt>
                <c:pt idx="44">
                  <c:v>8087</c:v>
                </c:pt>
                <c:pt idx="45">
                  <c:v>9300</c:v>
                </c:pt>
                <c:pt idx="46">
                  <c:v>5241</c:v>
                </c:pt>
                <c:pt idx="47">
                  <c:v>2641</c:v>
                </c:pt>
                <c:pt idx="48">
                  <c:v>7668</c:v>
                </c:pt>
                <c:pt idx="49">
                  <c:v>9609</c:v>
                </c:pt>
                <c:pt idx="50">
                  <c:v>8215</c:v>
                </c:pt>
                <c:pt idx="51">
                  <c:v>7532</c:v>
                </c:pt>
                <c:pt idx="52">
                  <c:v>8468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5</c:v>
                </c:pt>
                <c:pt idx="57">
                  <c:v>8503</c:v>
                </c:pt>
                <c:pt idx="58">
                  <c:v>8010</c:v>
                </c:pt>
                <c:pt idx="59">
                  <c:v>8052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48</c:v>
                </c:pt>
                <c:pt idx="64">
                  <c:v>9667</c:v>
                </c:pt>
                <c:pt idx="65">
                  <c:v>8107</c:v>
                </c:pt>
                <c:pt idx="66">
                  <c:v>8622</c:v>
                </c:pt>
                <c:pt idx="67">
                  <c:v>4820</c:v>
                </c:pt>
                <c:pt idx="68">
                  <c:v>2451</c:v>
                </c:pt>
                <c:pt idx="69">
                  <c:v>7779</c:v>
                </c:pt>
                <c:pt idx="70">
                  <c:v>10283</c:v>
                </c:pt>
                <c:pt idx="71">
                  <c:v>9539</c:v>
                </c:pt>
                <c:pt idx="72">
                  <c:v>9018</c:v>
                </c:pt>
                <c:pt idx="73">
                  <c:v>8829</c:v>
                </c:pt>
                <c:pt idx="74">
                  <c:v>5141</c:v>
                </c:pt>
                <c:pt idx="75">
                  <c:v>2881</c:v>
                </c:pt>
                <c:pt idx="76">
                  <c:v>8905</c:v>
                </c:pt>
                <c:pt idx="77">
                  <c:v>12609</c:v>
                </c:pt>
                <c:pt idx="78">
                  <c:v>10938</c:v>
                </c:pt>
                <c:pt idx="79">
                  <c:v>11702</c:v>
                </c:pt>
                <c:pt idx="80">
                  <c:v>11287</c:v>
                </c:pt>
                <c:pt idx="81">
                  <c:v>6775</c:v>
                </c:pt>
                <c:pt idx="82">
                  <c:v>4068</c:v>
                </c:pt>
                <c:pt idx="83">
                  <c:v>11408</c:v>
                </c:pt>
                <c:pt idx="84">
                  <c:v>15841</c:v>
                </c:pt>
                <c:pt idx="85">
                  <c:v>13795</c:v>
                </c:pt>
                <c:pt idx="86">
                  <c:v>14588</c:v>
                </c:pt>
                <c:pt idx="87">
                  <c:v>14776</c:v>
                </c:pt>
                <c:pt idx="88">
                  <c:v>7823</c:v>
                </c:pt>
                <c:pt idx="89">
                  <c:v>4587</c:v>
                </c:pt>
                <c:pt idx="90">
                  <c:v>12322</c:v>
                </c:pt>
                <c:pt idx="91">
                  <c:v>16777</c:v>
                </c:pt>
                <c:pt idx="92">
                  <c:v>15239</c:v>
                </c:pt>
                <c:pt idx="93">
                  <c:v>14649</c:v>
                </c:pt>
                <c:pt idx="94">
                  <c:v>13169</c:v>
                </c:pt>
                <c:pt idx="95">
                  <c:v>9130</c:v>
                </c:pt>
                <c:pt idx="96">
                  <c:v>3983</c:v>
                </c:pt>
                <c:pt idx="97">
                  <c:v>10653</c:v>
                </c:pt>
                <c:pt idx="98">
                  <c:v>15358</c:v>
                </c:pt>
                <c:pt idx="99">
                  <c:v>14535</c:v>
                </c:pt>
                <c:pt idx="100">
                  <c:v>11242</c:v>
                </c:pt>
                <c:pt idx="101">
                  <c:v>14957</c:v>
                </c:pt>
                <c:pt idx="102">
                  <c:v>6956</c:v>
                </c:pt>
                <c:pt idx="103">
                  <c:v>3331</c:v>
                </c:pt>
                <c:pt idx="104">
                  <c:v>10628</c:v>
                </c:pt>
                <c:pt idx="105">
                  <c:v>14028</c:v>
                </c:pt>
                <c:pt idx="106">
                  <c:v>12026</c:v>
                </c:pt>
                <c:pt idx="107">
                  <c:v>10657</c:v>
                </c:pt>
                <c:pt idx="108">
                  <c:v>9709</c:v>
                </c:pt>
                <c:pt idx="109">
                  <c:v>5466</c:v>
                </c:pt>
                <c:pt idx="110">
                  <c:v>2389</c:v>
                </c:pt>
                <c:pt idx="111">
                  <c:v>8240</c:v>
                </c:pt>
                <c:pt idx="112">
                  <c:v>10969</c:v>
                </c:pt>
                <c:pt idx="113">
                  <c:v>8845</c:v>
                </c:pt>
                <c:pt idx="114">
                  <c:v>7925</c:v>
                </c:pt>
                <c:pt idx="115">
                  <c:v>7710</c:v>
                </c:pt>
                <c:pt idx="116">
                  <c:v>3969</c:v>
                </c:pt>
                <c:pt idx="117">
                  <c:v>1743</c:v>
                </c:pt>
                <c:pt idx="118">
                  <c:v>6934</c:v>
                </c:pt>
                <c:pt idx="119">
                  <c:v>8629</c:v>
                </c:pt>
                <c:pt idx="120">
                  <c:v>7258</c:v>
                </c:pt>
                <c:pt idx="121">
                  <c:v>6243</c:v>
                </c:pt>
                <c:pt idx="122">
                  <c:v>3830</c:v>
                </c:pt>
                <c:pt idx="123">
                  <c:v>2158</c:v>
                </c:pt>
                <c:pt idx="124">
                  <c:v>1923</c:v>
                </c:pt>
                <c:pt idx="125">
                  <c:v>1418</c:v>
                </c:pt>
                <c:pt idx="126">
                  <c:v>5577</c:v>
                </c:pt>
                <c:pt idx="127">
                  <c:v>7049</c:v>
                </c:pt>
                <c:pt idx="128">
                  <c:v>5270</c:v>
                </c:pt>
                <c:pt idx="129">
                  <c:v>4817</c:v>
                </c:pt>
                <c:pt idx="130">
                  <c:v>2202</c:v>
                </c:pt>
                <c:pt idx="131">
                  <c:v>982</c:v>
                </c:pt>
                <c:pt idx="132">
                  <c:v>3843</c:v>
                </c:pt>
                <c:pt idx="133" formatCode="General">
                  <c:v>50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D6-49D4-BBCA-40283A14DEDD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13703.864506279357</c:v>
                </c:pt>
                <c:pt idx="89">
                  <c:v>13947.740085885691</c:v>
                </c:pt>
                <c:pt idx="90">
                  <c:v>14149.224572367377</c:v>
                </c:pt>
                <c:pt idx="91">
                  <c:v>14326.576891725252</c:v>
                </c:pt>
                <c:pt idx="92">
                  <c:v>14488.179540408461</c:v>
                </c:pt>
                <c:pt idx="93">
                  <c:v>14637.899366013678</c:v>
                </c:pt>
                <c:pt idx="94">
                  <c:v>14777.570225779313</c:v>
                </c:pt>
                <c:pt idx="95">
                  <c:v>14908.125523135202</c:v>
                </c:pt>
                <c:pt idx="96">
                  <c:v>15030.10431287298</c:v>
                </c:pt>
                <c:pt idx="97">
                  <c:v>15143.871212440938</c:v>
                </c:pt>
                <c:pt idx="98">
                  <c:v>15249.708435749646</c:v>
                </c:pt>
                <c:pt idx="99">
                  <c:v>15347.852537893776</c:v>
                </c:pt>
                <c:pt idx="100">
                  <c:v>15438.5084430508</c:v>
                </c:pt>
                <c:pt idx="101">
                  <c:v>15521.854901498873</c:v>
                </c:pt>
                <c:pt idx="102">
                  <c:v>15598.047204516557</c:v>
                </c:pt>
                <c:pt idx="103">
                  <c:v>15667.219343999815</c:v>
                </c:pt>
                <c:pt idx="104">
                  <c:v>15729.486285115383</c:v>
                </c:pt>
                <c:pt idx="105">
                  <c:v>15784.946440134854</c:v>
                </c:pt>
                <c:pt idx="106">
                  <c:v>15833.684248299791</c:v>
                </c:pt>
                <c:pt idx="107">
                  <c:v>15875.772738733451</c:v>
                </c:pt>
                <c:pt idx="108">
                  <c:v>15911.275977467594</c:v>
                </c:pt>
                <c:pt idx="109">
                  <c:v>15940.25133399808</c:v>
                </c:pt>
                <c:pt idx="110">
                  <c:v>15962.751532762984</c:v>
                </c:pt>
                <c:pt idx="111">
                  <c:v>15978.826476964043</c:v>
                </c:pt>
                <c:pt idx="112">
                  <c:v>15988.524846726856</c:v>
                </c:pt>
                <c:pt idx="113">
                  <c:v>15991.895482380527</c:v>
                </c:pt>
                <c:pt idx="114">
                  <c:v>15988.988568335462</c:v>
                </c:pt>
                <c:pt idx="115">
                  <c:v>15979.856635033955</c:v>
                </c:pt>
                <c:pt idx="116">
                  <c:v>15964.555396758153</c:v>
                </c:pt>
                <c:pt idx="117">
                  <c:v>15943.144442406874</c:v>
                </c:pt>
                <c:pt idx="118">
                  <c:v>15915.687795159907</c:v>
                </c:pt>
                <c:pt idx="119">
                  <c:v>15882.254355530424</c:v>
                </c:pt>
                <c:pt idx="120">
                  <c:v>15842.918240841871</c:v>
                </c:pt>
                <c:pt idx="121">
                  <c:v>15797.759032757598</c:v>
                </c:pt>
                <c:pt idx="122">
                  <c:v>15746.861943193822</c:v>
                </c:pt>
                <c:pt idx="123">
                  <c:v>15690.317907782257</c:v>
                </c:pt>
                <c:pt idx="124">
                  <c:v>15628.22361502286</c:v>
                </c:pt>
                <c:pt idx="125">
                  <c:v>15560.681478374674</c:v>
                </c:pt>
                <c:pt idx="126">
                  <c:v>15487.799557761642</c:v>
                </c:pt>
                <c:pt idx="127">
                  <c:v>15409.691436308502</c:v>
                </c:pt>
                <c:pt idx="128">
                  <c:v>15326.476057554019</c:v>
                </c:pt>
                <c:pt idx="129">
                  <c:v>15238.277527902354</c:v>
                </c:pt>
                <c:pt idx="130">
                  <c:v>15145.22488865537</c:v>
                </c:pt>
                <c:pt idx="131">
                  <c:v>15047.451861607735</c:v>
                </c:pt>
                <c:pt idx="132">
                  <c:v>14945.096571873641</c:v>
                </c:pt>
                <c:pt idx="133">
                  <c:v>14838.301251339421</c:v>
                </c:pt>
                <c:pt idx="134">
                  <c:v>14727.211925893771</c:v>
                </c:pt>
                <c:pt idx="135">
                  <c:v>14611.978089370503</c:v>
                </c:pt>
                <c:pt idx="136">
                  <c:v>14492.752366941924</c:v>
                </c:pt>
                <c:pt idx="137">
                  <c:v>14369.690170521166</c:v>
                </c:pt>
                <c:pt idx="138">
                  <c:v>14242.949348564311</c:v>
                </c:pt>
                <c:pt idx="139">
                  <c:v>14112.689832506207</c:v>
                </c:pt>
                <c:pt idx="140">
                  <c:v>13979.073281914618</c:v>
                </c:pt>
                <c:pt idx="141">
                  <c:v>13842.262730304588</c:v>
                </c:pt>
                <c:pt idx="142">
                  <c:v>13702.422233416957</c:v>
                </c:pt>
                <c:pt idx="143">
                  <c:v>13559.716521630915</c:v>
                </c:pt>
                <c:pt idx="144">
                  <c:v>13414.310658050177</c:v>
                </c:pt>
                <c:pt idx="145">
                  <c:v>13266.369703674438</c:v>
                </c:pt>
                <c:pt idx="146">
                  <c:v>13116.058390943021</c:v>
                </c:pt>
                <c:pt idx="147">
                  <c:v>12963.540806815072</c:v>
                </c:pt>
                <c:pt idx="148">
                  <c:v>12808.980086430933</c:v>
                </c:pt>
                <c:pt idx="149">
                  <c:v>12652.53811828232</c:v>
                </c:pt>
                <c:pt idx="150">
                  <c:v>12494.375261704727</c:v>
                </c:pt>
                <c:pt idx="151" formatCode="#,##0">
                  <c:v>12334.650077394488</c:v>
                </c:pt>
                <c:pt idx="152" formatCode="#,##0">
                  <c:v>12173.519071545517</c:v>
                </c:pt>
                <c:pt idx="153" formatCode="#,##0">
                  <c:v>12011.136454096581</c:v>
                </c:pt>
                <c:pt idx="154" formatCode="#,##0">
                  <c:v>11847.653911480365</c:v>
                </c:pt>
                <c:pt idx="155" formatCode="#,##0">
                  <c:v>11683.220394169555</c:v>
                </c:pt>
                <c:pt idx="156" formatCode="#,##0">
                  <c:v>11517.981919224159</c:v>
                </c:pt>
                <c:pt idx="157" formatCode="#,##0">
                  <c:v>11352.08138795762</c:v>
                </c:pt>
                <c:pt idx="158" formatCode="#,##0">
                  <c:v>11185.658418757575</c:v>
                </c:pt>
                <c:pt idx="159" formatCode="#,##0">
                  <c:v>11018.849195020563</c:v>
                </c:pt>
                <c:pt idx="160" formatCode="#,##0">
                  <c:v>10851.78632808833</c:v>
                </c:pt>
                <c:pt idx="161" formatCode="#,##0">
                  <c:v>10684.598735007381</c:v>
                </c:pt>
                <c:pt idx="162" formatCode="#,##0">
                  <c:v>10517.41153087225</c:v>
                </c:pt>
                <c:pt idx="163" formatCode="#,##0">
                  <c:v>10350.34593545749</c:v>
                </c:pt>
                <c:pt idx="164" formatCode="#,##0">
                  <c:v>10183.519193792981</c:v>
                </c:pt>
                <c:pt idx="165" formatCode="#,##0">
                  <c:v>10017.044510292133</c:v>
                </c:pt>
                <c:pt idx="166" formatCode="#,##0">
                  <c:v>9851.0309960025079</c:v>
                </c:pt>
                <c:pt idx="167" formatCode="#,##0">
                  <c:v>9685.5836285136211</c:v>
                </c:pt>
                <c:pt idx="168" formatCode="#,##0">
                  <c:v>9520.8032240265748</c:v>
                </c:pt>
                <c:pt idx="169" formatCode="#,##0">
                  <c:v>9356.7864210649568</c:v>
                </c:pt>
                <c:pt idx="170" formatCode="#,##0">
                  <c:v>9193.6256752857098</c:v>
                </c:pt>
                <c:pt idx="171" formatCode="#,##0">
                  <c:v>9031.4092648322239</c:v>
                </c:pt>
                <c:pt idx="172" formatCode="#,##0">
                  <c:v>8870.2213056597575</c:v>
                </c:pt>
                <c:pt idx="173" formatCode="#,##0">
                  <c:v>8710.1417762547771</c:v>
                </c:pt>
                <c:pt idx="174" formatCode="#,##0">
                  <c:v>8551.2465511651244</c:v>
                </c:pt>
                <c:pt idx="175" formatCode="#,##0">
                  <c:v>8393.6074427566346</c:v>
                </c:pt>
                <c:pt idx="176" formatCode="#,##0">
                  <c:v>8237.2922506135019</c:v>
                </c:pt>
                <c:pt idx="177" formatCode="#,##0">
                  <c:v>8082.3648180044675</c:v>
                </c:pt>
                <c:pt idx="178" formatCode="#,##0">
                  <c:v>7928.885094844276</c:v>
                </c:pt>
                <c:pt idx="179" formatCode="#,##0">
                  <c:v>7776.9092065893965</c:v>
                </c:pt>
                <c:pt idx="180" formatCode="#,##0">
                  <c:v>7626.4895285190469</c:v>
                </c:pt>
                <c:pt idx="181" formatCode="#,##0">
                  <c:v>7477.674764866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7D6-49D4-BBCA-40283A14DEDD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3565.398587364976</c:v>
                </c:pt>
                <c:pt idx="89">
                  <c:v>13597.620772138698</c:v>
                </c:pt>
                <c:pt idx="90">
                  <c:v>13548.918318527833</c:v>
                </c:pt>
                <c:pt idx="91">
                  <c:v>13455.939457546039</c:v>
                </c:pt>
                <c:pt idx="92">
                  <c:v>13336.901120744071</c:v>
                </c:pt>
                <c:pt idx="93">
                  <c:v>13201.041345989797</c:v>
                </c:pt>
                <c:pt idx="94">
                  <c:v>13053.250245753177</c:v>
                </c:pt>
                <c:pt idx="95">
                  <c:v>12896.318961767711</c:v>
                </c:pt>
                <c:pt idx="96">
                  <c:v>12732.020108445684</c:v>
                </c:pt>
                <c:pt idx="97">
                  <c:v>12561.620250351514</c:v>
                </c:pt>
                <c:pt idx="98">
                  <c:v>12386.119621972726</c:v>
                </c:pt>
                <c:pt idx="99">
                  <c:v>12206.362920696471</c:v>
                </c:pt>
                <c:pt idx="100">
                  <c:v>12023.090421835983</c:v>
                </c:pt>
                <c:pt idx="101">
                  <c:v>11836.962221911288</c:v>
                </c:pt>
                <c:pt idx="102">
                  <c:v>11648.570807348526</c:v>
                </c:pt>
                <c:pt idx="103">
                  <c:v>11458.448766482525</c:v>
                </c:pt>
                <c:pt idx="104">
                  <c:v>11267.074560520114</c:v>
                </c:pt>
                <c:pt idx="105">
                  <c:v>11074.877508179043</c:v>
                </c:pt>
                <c:pt idx="106">
                  <c:v>10882.242381785769</c:v>
                </c:pt>
                <c:pt idx="107">
                  <c:v>10689.513712989812</c:v>
                </c:pt>
                <c:pt idx="108">
                  <c:v>10496.999805791134</c:v>
                </c:pt>
                <c:pt idx="109">
                  <c:v>10304.976434519584</c:v>
                </c:pt>
                <c:pt idx="110">
                  <c:v>10113.69021224228</c:v>
                </c:pt>
                <c:pt idx="111">
                  <c:v>9923.361629071529</c:v>
                </c:pt>
                <c:pt idx="112">
                  <c:v>9734.1877720736393</c:v>
                </c:pt>
                <c:pt idx="113">
                  <c:v>9546.3447468654849</c:v>
                </c:pt>
                <c:pt idx="114">
                  <c:v>9359.989825699653</c:v>
                </c:pt>
                <c:pt idx="115">
                  <c:v>9175.2633487234507</c:v>
                </c:pt>
                <c:pt idx="116">
                  <c:v>8992.2904050442994</c:v>
                </c:pt>
                <c:pt idx="117">
                  <c:v>8811.1823189776806</c:v>
                </c:pt>
                <c:pt idx="118">
                  <c:v>8632.0379649301503</c:v>
                </c:pt>
                <c:pt idx="119">
                  <c:v>8454.9449321447137</c:v>
                </c:pt>
                <c:pt idx="120">
                  <c:v>8279.9805582433582</c:v>
                </c:pt>
                <c:pt idx="121">
                  <c:v>8107.2128482826047</c:v>
                </c:pt>
                <c:pt idx="122">
                  <c:v>7936.701293970641</c:v>
                </c:pt>
                <c:pt idx="123">
                  <c:v>7768.4976058159664</c:v>
                </c:pt>
                <c:pt idx="124">
                  <c:v>7602.6463692990101</c:v>
                </c:pt>
                <c:pt idx="125">
                  <c:v>7439.1856346759896</c:v>
                </c:pt>
                <c:pt idx="126">
                  <c:v>7278.1474487267014</c:v>
                </c:pt>
                <c:pt idx="127">
                  <c:v>7119.5583356283587</c:v>
                </c:pt>
                <c:pt idx="128">
                  <c:v>6963.4397331588161</c:v>
                </c:pt>
                <c:pt idx="129">
                  <c:v>6809.8083895867212</c:v>
                </c:pt>
                <c:pt idx="130">
                  <c:v>6658.6767258768996</c:v>
                </c:pt>
                <c:pt idx="131">
                  <c:v>6510.0531672116349</c:v>
                </c:pt>
                <c:pt idx="132">
                  <c:v>6363.942447288402</c:v>
                </c:pt>
                <c:pt idx="133">
                  <c:v>6220.3458883906142</c:v>
                </c:pt>
                <c:pt idx="134">
                  <c:v>6079.2616598290442</c:v>
                </c:pt>
                <c:pt idx="135">
                  <c:v>5940.6850170089601</c:v>
                </c:pt>
                <c:pt idx="136">
                  <c:v>5804.6085230835033</c:v>
                </c:pt>
                <c:pt idx="137">
                  <c:v>5671.0222549007694</c:v>
                </c:pt>
                <c:pt idx="138">
                  <c:v>5539.9139947345457</c:v>
                </c:pt>
                <c:pt idx="139">
                  <c:v>5411.2694091014473</c:v>
                </c:pt>
                <c:pt idx="140">
                  <c:v>5285.072215806259</c:v>
                </c:pt>
                <c:pt idx="141">
                  <c:v>5161.3043402186613</c:v>
                </c:pt>
                <c:pt idx="142">
                  <c:v>5039.9460616651231</c:v>
                </c:pt>
                <c:pt idx="143">
                  <c:v>4920.9761507168096</c:v>
                </c:pt>
                <c:pt idx="144">
                  <c:v>4804.3719980655906</c:v>
                </c:pt>
                <c:pt idx="145">
                  <c:v>4690.1097356035389</c:v>
                </c:pt>
                <c:pt idx="146">
                  <c:v>4578.1643502550887</c:v>
                </c:pt>
                <c:pt idx="147">
                  <c:v>4468.5097910536624</c:v>
                </c:pt>
                <c:pt idx="148">
                  <c:v>4361.1190699049157</c:v>
                </c:pt>
                <c:pt idx="149">
                  <c:v>4255.9643564357075</c:v>
                </c:pt>
                <c:pt idx="150">
                  <c:v>4153.017067290396</c:v>
                </c:pt>
                <c:pt idx="151" formatCode="#,##0">
                  <c:v>4052.2479502035376</c:v>
                </c:pt>
                <c:pt idx="152" formatCode="#,##0">
                  <c:v>3953.6271631495847</c:v>
                </c:pt>
                <c:pt idx="153" formatCode="#,##0">
                  <c:v>3857.1243488453674</c:v>
                </c:pt>
                <c:pt idx="154" formatCode="#,##0">
                  <c:v>3762.7087048593494</c:v>
                </c:pt>
                <c:pt idx="155" formatCode="#,##0">
                  <c:v>3670.3490495624683</c:v>
                </c:pt>
                <c:pt idx="156" formatCode="#,##0">
                  <c:v>3580.0138841385356</c:v>
                </c:pt>
                <c:pt idx="157" formatCode="#,##0">
                  <c:v>3491.6714508571886</c:v>
                </c:pt>
                <c:pt idx="158" formatCode="#,##0">
                  <c:v>3405.2897877991431</c:v>
                </c:pt>
                <c:pt idx="159" formatCode="#,##0">
                  <c:v>3320.8367802116381</c:v>
                </c:pt>
                <c:pt idx="160" formatCode="#,##0">
                  <c:v>3238.2802086613838</c:v>
                </c:pt>
                <c:pt idx="161" formatCode="#,##0">
                  <c:v>3157.5877941427698</c:v>
                </c:pt>
                <c:pt idx="162" formatCode="#,##0">
                  <c:v>3078.7272402904882</c:v>
                </c:pt>
                <c:pt idx="163" formatCode="#,##0">
                  <c:v>3001.6662728378628</c:v>
                </c:pt>
                <c:pt idx="164" formatCode="#,##0">
                  <c:v>2926.3726764550584</c:v>
                </c:pt>
                <c:pt idx="165" formatCode="#,##0">
                  <c:v>2852.8143290947587</c:v>
                </c:pt>
                <c:pt idx="166" formatCode="#,##0">
                  <c:v>2780.9592339668447</c:v>
                </c:pt>
                <c:pt idx="167" formatCode="#,##0">
                  <c:v>2710.7755492580272</c:v>
                </c:pt>
                <c:pt idx="168" formatCode="#,##0">
                  <c:v>2642.2316157071173</c:v>
                </c:pt>
                <c:pt idx="169" formatCode="#,##0">
                  <c:v>2575.2959821417821</c:v>
                </c:pt>
                <c:pt idx="170" formatCode="#,##0">
                  <c:v>2509.9374290780111</c:v>
                </c:pt>
                <c:pt idx="171" formatCode="#,##0">
                  <c:v>2446.1249904791971</c:v>
                </c:pt>
                <c:pt idx="172" formatCode="#,##0">
                  <c:v>2383.8279737676639</c:v>
                </c:pt>
                <c:pt idx="173" formatCode="#,##0">
                  <c:v>2323.0159781775351</c:v>
                </c:pt>
                <c:pt idx="174" formatCode="#,##0">
                  <c:v>2263.6589115341962</c:v>
                </c:pt>
                <c:pt idx="175" formatCode="#,##0">
                  <c:v>2205.7270055419972</c:v>
                </c:pt>
                <c:pt idx="176" formatCode="#,##0">
                  <c:v>2149.190829658527</c:v>
                </c:pt>
                <c:pt idx="177" formatCode="#,##0">
                  <c:v>2094.0213036304749</c:v>
                </c:pt>
                <c:pt idx="178" formatCode="#,##0">
                  <c:v>2040.1897087630277</c:v>
                </c:pt>
                <c:pt idx="179" formatCode="#,##0">
                  <c:v>1987.667697991727</c:v>
                </c:pt>
                <c:pt idx="180" formatCode="#,##0">
                  <c:v>1936.4273048228154</c:v>
                </c:pt>
                <c:pt idx="181" formatCode="#,##0">
                  <c:v>1886.4409512053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2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6318</c:v>
                </c:pt>
                <c:pt idx="1">
                  <c:v>6352</c:v>
                </c:pt>
                <c:pt idx="2">
                  <c:v>6437</c:v>
                </c:pt>
                <c:pt idx="3">
                  <c:v>6535</c:v>
                </c:pt>
                <c:pt idx="4">
                  <c:v>6551</c:v>
                </c:pt>
                <c:pt idx="5">
                  <c:v>6151</c:v>
                </c:pt>
                <c:pt idx="6">
                  <c:v>6358</c:v>
                </c:pt>
                <c:pt idx="7">
                  <c:v>7054</c:v>
                </c:pt>
                <c:pt idx="8">
                  <c:v>7087</c:v>
                </c:pt>
                <c:pt idx="9">
                  <c:v>7178</c:v>
                </c:pt>
                <c:pt idx="10">
                  <c:v>7393</c:v>
                </c:pt>
                <c:pt idx="11">
                  <c:v>7490</c:v>
                </c:pt>
                <c:pt idx="12">
                  <c:v>7196</c:v>
                </c:pt>
                <c:pt idx="13">
                  <c:v>7462</c:v>
                </c:pt>
                <c:pt idx="14">
                  <c:v>8272</c:v>
                </c:pt>
                <c:pt idx="15">
                  <c:v>8454</c:v>
                </c:pt>
                <c:pt idx="16">
                  <c:v>8397</c:v>
                </c:pt>
                <c:pt idx="17">
                  <c:v>8400</c:v>
                </c:pt>
                <c:pt idx="18">
                  <c:v>8459</c:v>
                </c:pt>
                <c:pt idx="19">
                  <c:v>8112</c:v>
                </c:pt>
                <c:pt idx="20">
                  <c:v>8339</c:v>
                </c:pt>
                <c:pt idx="21">
                  <c:v>9013</c:v>
                </c:pt>
                <c:pt idx="22">
                  <c:v>8984</c:v>
                </c:pt>
                <c:pt idx="23">
                  <c:v>9004</c:v>
                </c:pt>
                <c:pt idx="24">
                  <c:v>8965</c:v>
                </c:pt>
                <c:pt idx="25">
                  <c:v>8934</c:v>
                </c:pt>
                <c:pt idx="26">
                  <c:v>8537</c:v>
                </c:pt>
                <c:pt idx="27">
                  <c:v>8751</c:v>
                </c:pt>
                <c:pt idx="28">
                  <c:v>9467</c:v>
                </c:pt>
                <c:pt idx="29">
                  <c:v>9337</c:v>
                </c:pt>
                <c:pt idx="30">
                  <c:v>9167</c:v>
                </c:pt>
                <c:pt idx="31">
                  <c:v>8966</c:v>
                </c:pt>
                <c:pt idx="32">
                  <c:v>8774</c:v>
                </c:pt>
                <c:pt idx="33">
                  <c:v>8222</c:v>
                </c:pt>
                <c:pt idx="34">
                  <c:v>8337</c:v>
                </c:pt>
                <c:pt idx="35">
                  <c:v>8974</c:v>
                </c:pt>
                <c:pt idx="36">
                  <c:v>8643</c:v>
                </c:pt>
                <c:pt idx="37">
                  <c:v>8323</c:v>
                </c:pt>
                <c:pt idx="38">
                  <c:v>8174</c:v>
                </c:pt>
                <c:pt idx="39">
                  <c:v>8050</c:v>
                </c:pt>
                <c:pt idx="40">
                  <c:v>7535</c:v>
                </c:pt>
                <c:pt idx="41">
                  <c:v>7583</c:v>
                </c:pt>
                <c:pt idx="42">
                  <c:v>8125</c:v>
                </c:pt>
                <c:pt idx="43">
                  <c:v>7850</c:v>
                </c:pt>
                <c:pt idx="44">
                  <c:v>7530</c:v>
                </c:pt>
                <c:pt idx="45">
                  <c:v>7228</c:v>
                </c:pt>
                <c:pt idx="46">
                  <c:v>6391</c:v>
                </c:pt>
                <c:pt idx="47">
                  <c:v>6235</c:v>
                </c:pt>
                <c:pt idx="48">
                  <c:v>6328</c:v>
                </c:pt>
                <c:pt idx="49">
                  <c:v>6399</c:v>
                </c:pt>
                <c:pt idx="50">
                  <c:v>7086</c:v>
                </c:pt>
                <c:pt idx="51">
                  <c:v>6729</c:v>
                </c:pt>
                <c:pt idx="52">
                  <c:v>6253</c:v>
                </c:pt>
                <c:pt idx="53">
                  <c:v>5938</c:v>
                </c:pt>
                <c:pt idx="54">
                  <c:v>5306</c:v>
                </c:pt>
                <c:pt idx="55">
                  <c:v>5275</c:v>
                </c:pt>
                <c:pt idx="56">
                  <c:v>55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I</c:v>
                </c:pt>
              </c:strCache>
            </c:strRef>
          </c:tx>
          <c:spPr>
            <a:ln w="28575" cap="rnd">
              <a:solidFill>
                <a:srgbClr val="30598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E$2:$E$107</c:f>
              <c:numCache>
                <c:formatCode>General</c:formatCode>
                <c:ptCount val="106"/>
                <c:pt idx="10">
                  <c:v>7445.066791190713</c:v>
                </c:pt>
                <c:pt idx="11">
                  <c:v>7683.2928553793045</c:v>
                </c:pt>
                <c:pt idx="12">
                  <c:v>7931.5522738014424</c:v>
                </c:pt>
                <c:pt idx="13">
                  <c:v>8193.7949368262744</c:v>
                </c:pt>
                <c:pt idx="14">
                  <c:v>8467.6154283889045</c:v>
                </c:pt>
                <c:pt idx="15">
                  <c:v>8746.9129729918423</c:v>
                </c:pt>
                <c:pt idx="16">
                  <c:v>9030.6924666136729</c:v>
                </c:pt>
                <c:pt idx="17">
                  <c:v>9312.207074760252</c:v>
                </c:pt>
                <c:pt idx="18">
                  <c:v>9583.9306255261563</c:v>
                </c:pt>
                <c:pt idx="19">
                  <c:v>9845.5837729842024</c:v>
                </c:pt>
                <c:pt idx="20">
                  <c:v>10096.80791915163</c:v>
                </c:pt>
                <c:pt idx="21">
                  <c:v>10332.908535706847</c:v>
                </c:pt>
                <c:pt idx="22">
                  <c:v>10551.54357173382</c:v>
                </c:pt>
                <c:pt idx="23">
                  <c:v>10753.324292726917</c:v>
                </c:pt>
                <c:pt idx="24">
                  <c:v>10939.470832409774</c:v>
                </c:pt>
                <c:pt idx="25">
                  <c:v>11111.022332431477</c:v>
                </c:pt>
                <c:pt idx="26">
                  <c:v>11268.035623801787</c:v>
                </c:pt>
                <c:pt idx="27">
                  <c:v>11410.023991359425</c:v>
                </c:pt>
                <c:pt idx="28">
                  <c:v>11535.848047877857</c:v>
                </c:pt>
                <c:pt idx="29">
                  <c:v>11646.134845904917</c:v>
                </c:pt>
                <c:pt idx="30">
                  <c:v>11741.990785426487</c:v>
                </c:pt>
                <c:pt idx="31">
                  <c:v>11824.137387865227</c:v>
                </c:pt>
                <c:pt idx="32">
                  <c:v>11892.903856462735</c:v>
                </c:pt>
                <c:pt idx="33">
                  <c:v>11949.038223513196</c:v>
                </c:pt>
                <c:pt idx="34">
                  <c:v>11993.513046453769</c:v>
                </c:pt>
                <c:pt idx="35">
                  <c:v>12026.545344259961</c:v>
                </c:pt>
                <c:pt idx="36">
                  <c:v>12048.786111627651</c:v>
                </c:pt>
                <c:pt idx="37">
                  <c:v>12060.767000124291</c:v>
                </c:pt>
                <c:pt idx="38">
                  <c:v>12062.798496133062</c:v>
                </c:pt>
                <c:pt idx="39">
                  <c:v>12055.535444133184</c:v>
                </c:pt>
                <c:pt idx="40">
                  <c:v>12039.643255398167</c:v>
                </c:pt>
                <c:pt idx="41">
                  <c:v>12015.434765807086</c:v>
                </c:pt>
                <c:pt idx="42">
                  <c:v>11983.210036903323</c:v>
                </c:pt>
                <c:pt idx="43">
                  <c:v>11943.436237119218</c:v>
                </c:pt>
                <c:pt idx="44">
                  <c:v>11896.419543106575</c:v>
                </c:pt>
                <c:pt idx="45">
                  <c:v>11842.474374672202</c:v>
                </c:pt>
                <c:pt idx="46">
                  <c:v>11782.039236755074</c:v>
                </c:pt>
                <c:pt idx="47">
                  <c:v>11715.367034225173</c:v>
                </c:pt>
                <c:pt idx="48">
                  <c:v>11645.748511456459</c:v>
                </c:pt>
                <c:pt idx="49">
                  <c:v>11573.47758162267</c:v>
                </c:pt>
                <c:pt idx="50">
                  <c:v>11498.729365897672</c:v>
                </c:pt>
                <c:pt idx="51">
                  <c:v>11421.742063989221</c:v>
                </c:pt>
                <c:pt idx="52">
                  <c:v>11342.74740514414</c:v>
                </c:pt>
                <c:pt idx="53">
                  <c:v>11261.965803587391</c:v>
                </c:pt>
                <c:pt idx="54">
                  <c:v>11179.629506415027</c:v>
                </c:pt>
                <c:pt idx="55">
                  <c:v>11095.935020422321</c:v>
                </c:pt>
                <c:pt idx="56">
                  <c:v>11011.042721272161</c:v>
                </c:pt>
                <c:pt idx="57">
                  <c:v>10925.073076528879</c:v>
                </c:pt>
                <c:pt idx="58">
                  <c:v>10838.140631910339</c:v>
                </c:pt>
                <c:pt idx="59">
                  <c:v>10750.370820727008</c:v>
                </c:pt>
                <c:pt idx="60">
                  <c:v>10661.915980781467</c:v>
                </c:pt>
                <c:pt idx="61">
                  <c:v>10572.948099720816</c:v>
                </c:pt>
                <c:pt idx="62">
                  <c:v>10483.546465504322</c:v>
                </c:pt>
                <c:pt idx="63">
                  <c:v>10393.803916192661</c:v>
                </c:pt>
                <c:pt idx="64">
                  <c:v>10303.861567112373</c:v>
                </c:pt>
                <c:pt idx="65">
                  <c:v>10213.785773217924</c:v>
                </c:pt>
                <c:pt idx="66">
                  <c:v>10123.625223850049</c:v>
                </c:pt>
                <c:pt idx="67">
                  <c:v>10033.475369768119</c:v>
                </c:pt>
                <c:pt idx="68">
                  <c:v>9943.4358721046829</c:v>
                </c:pt>
                <c:pt idx="69">
                  <c:v>9853.5644851223551</c:v>
                </c:pt>
                <c:pt idx="70">
                  <c:v>9763.924041946213</c:v>
                </c:pt>
                <c:pt idx="71">
                  <c:v>9674.5816313164014</c:v>
                </c:pt>
                <c:pt idx="72">
                  <c:v>9585.5927684612634</c:v>
                </c:pt>
                <c:pt idx="73">
                  <c:v>9497.0081325328683</c:v>
                </c:pt>
                <c:pt idx="74">
                  <c:v>9408.8747644341802</c:v>
                </c:pt>
                <c:pt idx="75">
                  <c:v>9321.2360251680821</c:v>
                </c:pt>
                <c:pt idx="76">
                  <c:v>9234.1310423892191</c:v>
                </c:pt>
                <c:pt idx="77">
                  <c:v>9147.5951740168621</c:v>
                </c:pt>
                <c:pt idx="78">
                  <c:v>9061.6601727252837</c:v>
                </c:pt>
                <c:pt idx="79">
                  <c:v>8976.3539946234887</c:v>
                </c:pt>
                <c:pt idx="80">
                  <c:v>8891.7012609393714</c:v>
                </c:pt>
                <c:pt idx="81">
                  <c:v>8807.7235049582796</c:v>
                </c:pt>
                <c:pt idx="82">
                  <c:v>8724.4392160395055</c:v>
                </c:pt>
                <c:pt idx="83">
                  <c:v>8641.8640347407345</c:v>
                </c:pt>
                <c:pt idx="84">
                  <c:v>8560.010968599101</c:v>
                </c:pt>
                <c:pt idx="85">
                  <c:v>8478.8904825950194</c:v>
                </c:pt>
                <c:pt idx="86">
                  <c:v>8398.5105415763755</c:v>
                </c:pt>
                <c:pt idx="87">
                  <c:v>8318.8768307740993</c:v>
                </c:pt>
                <c:pt idx="88">
                  <c:v>8239.9929527778277</c:v>
                </c:pt>
                <c:pt idx="89">
                  <c:v>8161.8605799738843</c:v>
                </c:pt>
                <c:pt idx="90">
                  <c:v>8084.4795617019545</c:v>
                </c:pt>
                <c:pt idx="91">
                  <c:v>8007.848022648931</c:v>
                </c:pt>
                <c:pt idx="92">
                  <c:v>7931.9625298930623</c:v>
                </c:pt>
                <c:pt idx="93">
                  <c:v>7856.8182107687398</c:v>
                </c:pt>
                <c:pt idx="94">
                  <c:v>7782.4088560768396</c:v>
                </c:pt>
                <c:pt idx="95">
                  <c:v>7708.7270511846255</c:v>
                </c:pt>
                <c:pt idx="96">
                  <c:v>7635.7643094445884</c:v>
                </c:pt>
                <c:pt idx="97">
                  <c:v>7563.5111953383912</c:v>
                </c:pt>
                <c:pt idx="98">
                  <c:v>7491.9574223839272</c:v>
                </c:pt>
                <c:pt idx="99">
                  <c:v>7421.0919403833304</c:v>
                </c:pt>
                <c:pt idx="100">
                  <c:v>7350.9030437987631</c:v>
                </c:pt>
                <c:pt idx="101">
                  <c:v>7281.3784763318054</c:v>
                </c:pt>
                <c:pt idx="102">
                  <c:v>7212.5055189606192</c:v>
                </c:pt>
                <c:pt idx="103">
                  <c:v>7144.2710778890605</c:v>
                </c:pt>
                <c:pt idx="104">
                  <c:v>7076.6617677339982</c:v>
                </c:pt>
                <c:pt idx="105">
                  <c:v>7009.6639900544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4B-49C3-A552-FC8CD36DEB4C}"/>
            </c:ext>
          </c:extLst>
        </c:ser>
        <c:ser>
          <c:idx val="4"/>
          <c:order val="1"/>
          <c:tx>
            <c:strRef>
              <c:f>Sheet1!$F$1</c:f>
              <c:strCache>
                <c:ptCount val="1"/>
                <c:pt idx="0">
                  <c:v>II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7445.066791190713</c:v>
                </c:pt>
                <c:pt idx="11">
                  <c:v>7683.2928553793045</c:v>
                </c:pt>
                <c:pt idx="12">
                  <c:v>7927.5036554373874</c:v>
                </c:pt>
                <c:pt idx="13">
                  <c:v>8178.8407071724523</c:v>
                </c:pt>
                <c:pt idx="14">
                  <c:v>8433.2297068548633</c:v>
                </c:pt>
                <c:pt idx="15">
                  <c:v>8683.4860314971902</c:v>
                </c:pt>
                <c:pt idx="16">
                  <c:v>8927.8341552411457</c:v>
                </c:pt>
                <c:pt idx="17">
                  <c:v>9158.9015366558306</c:v>
                </c:pt>
                <c:pt idx="18">
                  <c:v>9368.663691722064</c:v>
                </c:pt>
                <c:pt idx="19">
                  <c:v>9556.5085497429736</c:v>
                </c:pt>
                <c:pt idx="20">
                  <c:v>9721.9991608728033</c:v>
                </c:pt>
                <c:pt idx="21">
                  <c:v>9860.604538894615</c:v>
                </c:pt>
                <c:pt idx="22">
                  <c:v>9970.409506576616</c:v>
                </c:pt>
                <c:pt idx="23">
                  <c:v>10052.722249482642</c:v>
                </c:pt>
                <c:pt idx="24">
                  <c:v>10109.642928074862</c:v>
                </c:pt>
                <c:pt idx="25">
                  <c:v>10143.178943764886</c:v>
                </c:pt>
                <c:pt idx="26">
                  <c:v>10154.409892875401</c:v>
                </c:pt>
                <c:pt idx="27">
                  <c:v>10143.913370193412</c:v>
                </c:pt>
                <c:pt idx="28">
                  <c:v>10111.628752794104</c:v>
                </c:pt>
                <c:pt idx="29">
                  <c:v>10059.250531358719</c:v>
                </c:pt>
                <c:pt idx="30">
                  <c:v>9988.9190624145431</c:v>
                </c:pt>
                <c:pt idx="31">
                  <c:v>9902.3514265336453</c:v>
                </c:pt>
                <c:pt idx="32">
                  <c:v>9800.8373788582285</c:v>
                </c:pt>
                <c:pt idx="33">
                  <c:v>9686.0556333873883</c:v>
                </c:pt>
                <c:pt idx="34">
                  <c:v>9559.8669000297923</c:v>
                </c:pt>
                <c:pt idx="35">
                  <c:v>9423.3101085894687</c:v>
                </c:pt>
                <c:pt idx="36">
                  <c:v>9277.7862144212249</c:v>
                </c:pt>
                <c:pt idx="37">
                  <c:v>9124.5093254181265</c:v>
                </c:pt>
                <c:pt idx="38">
                  <c:v>8964.4131323599649</c:v>
                </c:pt>
                <c:pt idx="39">
                  <c:v>8798.7147582139787</c:v>
                </c:pt>
                <c:pt idx="40">
                  <c:v>8628.5864473178681</c:v>
                </c:pt>
                <c:pt idx="41">
                  <c:v>8454.7940666114318</c:v>
                </c:pt>
                <c:pt idx="42">
                  <c:v>8278.0384528384766</c:v>
                </c:pt>
                <c:pt idx="43">
                  <c:v>8099.1398565369373</c:v>
                </c:pt>
                <c:pt idx="44">
                  <c:v>7918.7090367630908</c:v>
                </c:pt>
                <c:pt idx="45">
                  <c:v>7737.3188344419905</c:v>
                </c:pt>
                <c:pt idx="46">
                  <c:v>7555.6237625192007</c:v>
                </c:pt>
                <c:pt idx="47">
                  <c:v>7374.0544184679966</c:v>
                </c:pt>
                <c:pt idx="48">
                  <c:v>7194.8907245393248</c:v>
                </c:pt>
                <c:pt idx="49">
                  <c:v>7018.4283971524101</c:v>
                </c:pt>
                <c:pt idx="50">
                  <c:v>6844.8206277902764</c:v>
                </c:pt>
                <c:pt idx="51">
                  <c:v>6674.2623915119702</c:v>
                </c:pt>
                <c:pt idx="52">
                  <c:v>6506.9242344970125</c:v>
                </c:pt>
                <c:pt idx="53">
                  <c:v>6342.9497603710461</c:v>
                </c:pt>
                <c:pt idx="54">
                  <c:v>6182.4807127655695</c:v>
                </c:pt>
                <c:pt idx="55">
                  <c:v>6025.6116742315899</c:v>
                </c:pt>
                <c:pt idx="56">
                  <c:v>5872.3909531744248</c:v>
                </c:pt>
                <c:pt idx="57">
                  <c:v>5722.818215296119</c:v>
                </c:pt>
                <c:pt idx="58">
                  <c:v>5576.880127703751</c:v>
                </c:pt>
                <c:pt idx="59">
                  <c:v>5434.5685766589741</c:v>
                </c:pt>
                <c:pt idx="60">
                  <c:v>5295.8979267290197</c:v>
                </c:pt>
                <c:pt idx="61">
                  <c:v>5160.8988644035244</c:v>
                </c:pt>
                <c:pt idx="62">
                  <c:v>5029.507415074765</c:v>
                </c:pt>
                <c:pt idx="63">
                  <c:v>4901.6722166798763</c:v>
                </c:pt>
                <c:pt idx="64">
                  <c:v>4777.3897357680271</c:v>
                </c:pt>
                <c:pt idx="65">
                  <c:v>4656.5814728264013</c:v>
                </c:pt>
                <c:pt idx="66">
                  <c:v>4539.1515768147619</c:v>
                </c:pt>
                <c:pt idx="67">
                  <c:v>4425.0521293648935</c:v>
                </c:pt>
                <c:pt idx="68">
                  <c:v>4314.2415428973018</c:v>
                </c:pt>
                <c:pt idx="69">
                  <c:v>4206.6384886395517</c:v>
                </c:pt>
                <c:pt idx="70">
                  <c:v>4102.169410650371</c:v>
                </c:pt>
                <c:pt idx="71">
                  <c:v>4000.7681398717559</c:v>
                </c:pt>
                <c:pt idx="72">
                  <c:v>3902.3602346390849</c:v>
                </c:pt>
                <c:pt idx="73">
                  <c:v>3806.8695634724681</c:v>
                </c:pt>
                <c:pt idx="74">
                  <c:v>3714.2197987895802</c:v>
                </c:pt>
                <c:pt idx="75">
                  <c:v>3624.3346292297729</c:v>
                </c:pt>
                <c:pt idx="76">
                  <c:v>3537.1373657322065</c:v>
                </c:pt>
                <c:pt idx="77">
                  <c:v>3452.5515163372265</c:v>
                </c:pt>
                <c:pt idx="78">
                  <c:v>3370.5010180504528</c:v>
                </c:pt>
                <c:pt idx="79">
                  <c:v>3290.9100809288525</c:v>
                </c:pt>
                <c:pt idx="80">
                  <c:v>3213.7036620639938</c:v>
                </c:pt>
                <c:pt idx="81">
                  <c:v>3138.8077139150005</c:v>
                </c:pt>
                <c:pt idx="82">
                  <c:v>3066.149209609529</c:v>
                </c:pt>
                <c:pt idx="83">
                  <c:v>2995.6563044153677</c:v>
                </c:pt>
                <c:pt idx="84">
                  <c:v>2927.2585040506242</c:v>
                </c:pt>
                <c:pt idx="85">
                  <c:v>2860.8866912581957</c:v>
                </c:pt>
                <c:pt idx="86">
                  <c:v>2796.4730925708832</c:v>
                </c:pt>
                <c:pt idx="87">
                  <c:v>2733.9514118582142</c:v>
                </c:pt>
                <c:pt idx="88">
                  <c:v>2673.2569309225064</c:v>
                </c:pt>
                <c:pt idx="89">
                  <c:v>2614.3265568015354</c:v>
                </c:pt>
                <c:pt idx="90">
                  <c:v>2557.0988177556069</c:v>
                </c:pt>
                <c:pt idx="91">
                  <c:v>2501.513845808237</c:v>
                </c:pt>
                <c:pt idx="92">
                  <c:v>2447.5134224730709</c:v>
                </c:pt>
                <c:pt idx="93">
                  <c:v>2395.0409723346834</c:v>
                </c:pt>
                <c:pt idx="94">
                  <c:v>2344.0415388401793</c:v>
                </c:pt>
                <c:pt idx="95">
                  <c:v>2294.4617873935317</c:v>
                </c:pt>
                <c:pt idx="96">
                  <c:v>2246.2500101165147</c:v>
                </c:pt>
                <c:pt idx="97">
                  <c:v>2199.356119954693</c:v>
                </c:pt>
                <c:pt idx="98">
                  <c:v>2153.7316205690654</c:v>
                </c:pt>
                <c:pt idx="99">
                  <c:v>2109.3295667916805</c:v>
                </c:pt>
                <c:pt idx="100">
                  <c:v>2066.1045478985202</c:v>
                </c:pt>
                <c:pt idx="101">
                  <c:v>2024.0126691892413</c:v>
                </c:pt>
                <c:pt idx="102">
                  <c:v>1983.0115196377828</c:v>
                </c:pt>
                <c:pt idx="103">
                  <c:v>1943.060142473583</c:v>
                </c:pt>
                <c:pt idx="104">
                  <c:v>1904.1190045077831</c:v>
                </c:pt>
                <c:pt idx="105">
                  <c:v>1866.1499642809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2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1172</c:v>
                </c:pt>
                <c:pt idx="1">
                  <c:v>1216</c:v>
                </c:pt>
                <c:pt idx="2">
                  <c:v>1244</c:v>
                </c:pt>
                <c:pt idx="3">
                  <c:v>1269</c:v>
                </c:pt>
                <c:pt idx="4">
                  <c:v>1272</c:v>
                </c:pt>
                <c:pt idx="5">
                  <c:v>1271</c:v>
                </c:pt>
                <c:pt idx="6">
                  <c:v>1283</c:v>
                </c:pt>
                <c:pt idx="7">
                  <c:v>1365</c:v>
                </c:pt>
                <c:pt idx="8">
                  <c:v>1394</c:v>
                </c:pt>
                <c:pt idx="9">
                  <c:v>1412</c:v>
                </c:pt>
                <c:pt idx="10">
                  <c:v>1465</c:v>
                </c:pt>
                <c:pt idx="11">
                  <c:v>1441</c:v>
                </c:pt>
                <c:pt idx="12">
                  <c:v>1468</c:v>
                </c:pt>
                <c:pt idx="13">
                  <c:v>1505</c:v>
                </c:pt>
                <c:pt idx="14">
                  <c:v>1588</c:v>
                </c:pt>
                <c:pt idx="15">
                  <c:v>1600</c:v>
                </c:pt>
                <c:pt idx="16">
                  <c:v>1626</c:v>
                </c:pt>
                <c:pt idx="17">
                  <c:v>1651</c:v>
                </c:pt>
                <c:pt idx="18">
                  <c:v>1671</c:v>
                </c:pt>
                <c:pt idx="19">
                  <c:v>1674</c:v>
                </c:pt>
                <c:pt idx="20">
                  <c:v>1678</c:v>
                </c:pt>
                <c:pt idx="21">
                  <c:v>1772</c:v>
                </c:pt>
                <c:pt idx="22">
                  <c:v>1801</c:v>
                </c:pt>
                <c:pt idx="23">
                  <c:v>1831</c:v>
                </c:pt>
                <c:pt idx="24">
                  <c:v>1820</c:v>
                </c:pt>
                <c:pt idx="25">
                  <c:v>1834</c:v>
                </c:pt>
                <c:pt idx="26">
                  <c:v>1783</c:v>
                </c:pt>
                <c:pt idx="27">
                  <c:v>1830</c:v>
                </c:pt>
                <c:pt idx="28">
                  <c:v>1888</c:v>
                </c:pt>
                <c:pt idx="29">
                  <c:v>1895</c:v>
                </c:pt>
                <c:pt idx="30">
                  <c:v>1862</c:v>
                </c:pt>
                <c:pt idx="31">
                  <c:v>1862</c:v>
                </c:pt>
                <c:pt idx="32">
                  <c:v>1821</c:v>
                </c:pt>
                <c:pt idx="33">
                  <c:v>1783</c:v>
                </c:pt>
                <c:pt idx="34">
                  <c:v>1807</c:v>
                </c:pt>
                <c:pt idx="35">
                  <c:v>1825</c:v>
                </c:pt>
                <c:pt idx="36">
                  <c:v>1780</c:v>
                </c:pt>
                <c:pt idx="37">
                  <c:v>1747</c:v>
                </c:pt>
                <c:pt idx="38">
                  <c:v>1747</c:v>
                </c:pt>
                <c:pt idx="39">
                  <c:v>1686</c:v>
                </c:pt>
                <c:pt idx="40">
                  <c:v>1652</c:v>
                </c:pt>
                <c:pt idx="41">
                  <c:v>1660</c:v>
                </c:pt>
                <c:pt idx="42">
                  <c:v>1668</c:v>
                </c:pt>
                <c:pt idx="43">
                  <c:v>1619</c:v>
                </c:pt>
                <c:pt idx="44">
                  <c:v>1561</c:v>
                </c:pt>
                <c:pt idx="45">
                  <c:v>1516</c:v>
                </c:pt>
                <c:pt idx="46">
                  <c:v>1432</c:v>
                </c:pt>
                <c:pt idx="47">
                  <c:v>1406</c:v>
                </c:pt>
                <c:pt idx="48">
                  <c:v>1386</c:v>
                </c:pt>
                <c:pt idx="49">
                  <c:v>1357</c:v>
                </c:pt>
                <c:pt idx="50">
                  <c:v>1408</c:v>
                </c:pt>
                <c:pt idx="51">
                  <c:v>1384</c:v>
                </c:pt>
                <c:pt idx="52">
                  <c:v>1333</c:v>
                </c:pt>
                <c:pt idx="53">
                  <c:v>1252</c:v>
                </c:pt>
                <c:pt idx="54">
                  <c:v>1236</c:v>
                </c:pt>
                <c:pt idx="55">
                  <c:v>1221</c:v>
                </c:pt>
                <c:pt idx="56">
                  <c:v>1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I</c:v>
                </c:pt>
              </c:strCache>
            </c:strRef>
          </c:tx>
          <c:spPr>
            <a:ln w="28575" cap="rnd">
              <a:solidFill>
                <a:srgbClr val="30598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E$2:$E$107</c:f>
              <c:numCache>
                <c:formatCode>General</c:formatCode>
                <c:ptCount val="106"/>
                <c:pt idx="10">
                  <c:v>1489.0133582381427</c:v>
                </c:pt>
                <c:pt idx="11">
                  <c:v>1536.6585710758609</c:v>
                </c:pt>
                <c:pt idx="12">
                  <c:v>1586.3104547602886</c:v>
                </c:pt>
                <c:pt idx="13">
                  <c:v>1638.7589873652551</c:v>
                </c:pt>
                <c:pt idx="14">
                  <c:v>1693.523085677781</c:v>
                </c:pt>
                <c:pt idx="15">
                  <c:v>1749.3825945983685</c:v>
                </c:pt>
                <c:pt idx="16">
                  <c:v>1806.1384933227346</c:v>
                </c:pt>
                <c:pt idx="17">
                  <c:v>1862.4414149520505</c:v>
                </c:pt>
                <c:pt idx="18">
                  <c:v>1916.7861251052313</c:v>
                </c:pt>
                <c:pt idx="19">
                  <c:v>1969.1167545968406</c:v>
                </c:pt>
                <c:pt idx="20">
                  <c:v>2019.361583830326</c:v>
                </c:pt>
                <c:pt idx="21">
                  <c:v>2066.5817071413694</c:v>
                </c:pt>
                <c:pt idx="22">
                  <c:v>2110.3087143467642</c:v>
                </c:pt>
                <c:pt idx="23">
                  <c:v>2150.6648585453836</c:v>
                </c:pt>
                <c:pt idx="24">
                  <c:v>2187.8941664819549</c:v>
                </c:pt>
                <c:pt idx="25">
                  <c:v>2222.2044664862956</c:v>
                </c:pt>
                <c:pt idx="26">
                  <c:v>2253.6071247603572</c:v>
                </c:pt>
                <c:pt idx="27">
                  <c:v>2282.0047982718852</c:v>
                </c:pt>
                <c:pt idx="28">
                  <c:v>2307.1696095755715</c:v>
                </c:pt>
                <c:pt idx="29">
                  <c:v>2329.2269691809834</c:v>
                </c:pt>
                <c:pt idx="30">
                  <c:v>2348.3981570852975</c:v>
                </c:pt>
                <c:pt idx="31">
                  <c:v>2364.8274775730456</c:v>
                </c:pt>
                <c:pt idx="32">
                  <c:v>2378.5807712925471</c:v>
                </c:pt>
                <c:pt idx="33">
                  <c:v>2389.8076447026392</c:v>
                </c:pt>
                <c:pt idx="34">
                  <c:v>2398.702609290754</c:v>
                </c:pt>
                <c:pt idx="35">
                  <c:v>2405.3090688519924</c:v>
                </c:pt>
                <c:pt idx="36">
                  <c:v>2409.7572223255302</c:v>
                </c:pt>
                <c:pt idx="37">
                  <c:v>2412.1534000248585</c:v>
                </c:pt>
                <c:pt idx="38">
                  <c:v>2412.5596992266123</c:v>
                </c:pt>
                <c:pt idx="39">
                  <c:v>2411.1070888266368</c:v>
                </c:pt>
                <c:pt idx="40">
                  <c:v>2407.9286510796333</c:v>
                </c:pt>
                <c:pt idx="41">
                  <c:v>2403.0869531614171</c:v>
                </c:pt>
                <c:pt idx="42">
                  <c:v>2396.6420073806648</c:v>
                </c:pt>
                <c:pt idx="43">
                  <c:v>2388.6872474238439</c:v>
                </c:pt>
                <c:pt idx="44">
                  <c:v>2379.2839086213148</c:v>
                </c:pt>
                <c:pt idx="45">
                  <c:v>2368.4948749344403</c:v>
                </c:pt>
                <c:pt idx="46">
                  <c:v>2356.4078473510149</c:v>
                </c:pt>
                <c:pt idx="47">
                  <c:v>2343.0734068450347</c:v>
                </c:pt>
                <c:pt idx="48">
                  <c:v>2329.1497022912918</c:v>
                </c:pt>
                <c:pt idx="49">
                  <c:v>2314.6955163245343</c:v>
                </c:pt>
                <c:pt idx="50">
                  <c:v>2299.7458731795346</c:v>
                </c:pt>
                <c:pt idx="51">
                  <c:v>2284.348412797844</c:v>
                </c:pt>
                <c:pt idx="52">
                  <c:v>2268.5494810288283</c:v>
                </c:pt>
                <c:pt idx="53">
                  <c:v>2252.3931607174782</c:v>
                </c:pt>
                <c:pt idx="54">
                  <c:v>2235.9259012830057</c:v>
                </c:pt>
                <c:pt idx="55">
                  <c:v>2219.1870040844642</c:v>
                </c:pt>
                <c:pt idx="56">
                  <c:v>2202.2085442544321</c:v>
                </c:pt>
                <c:pt idx="57">
                  <c:v>2185.0146153057758</c:v>
                </c:pt>
                <c:pt idx="58">
                  <c:v>2167.6281263820679</c:v>
                </c:pt>
                <c:pt idx="59">
                  <c:v>2150.0741641454019</c:v>
                </c:pt>
                <c:pt idx="60">
                  <c:v>2132.3831961562933</c:v>
                </c:pt>
                <c:pt idx="61">
                  <c:v>2114.5896199441631</c:v>
                </c:pt>
                <c:pt idx="62">
                  <c:v>2096.7092931008642</c:v>
                </c:pt>
                <c:pt idx="63">
                  <c:v>2078.7607832385324</c:v>
                </c:pt>
                <c:pt idx="64">
                  <c:v>2060.7723134224748</c:v>
                </c:pt>
                <c:pt idx="65">
                  <c:v>2042.7571546435847</c:v>
                </c:pt>
                <c:pt idx="66">
                  <c:v>2024.7250447700098</c:v>
                </c:pt>
                <c:pt idx="67">
                  <c:v>2006.6950739536239</c:v>
                </c:pt>
                <c:pt idx="68">
                  <c:v>1988.6871744209366</c:v>
                </c:pt>
                <c:pt idx="69">
                  <c:v>1970.7128970244712</c:v>
                </c:pt>
                <c:pt idx="70">
                  <c:v>1952.7848083892427</c:v>
                </c:pt>
                <c:pt idx="71">
                  <c:v>1934.9163262632803</c:v>
                </c:pt>
                <c:pt idx="72">
                  <c:v>1917.1185536922528</c:v>
                </c:pt>
                <c:pt idx="73">
                  <c:v>1899.4016265065738</c:v>
                </c:pt>
                <c:pt idx="74">
                  <c:v>1881.7749528868362</c:v>
                </c:pt>
                <c:pt idx="75">
                  <c:v>1864.2472050336164</c:v>
                </c:pt>
                <c:pt idx="76">
                  <c:v>1846.8262084778439</c:v>
                </c:pt>
                <c:pt idx="77">
                  <c:v>1829.5190348033725</c:v>
                </c:pt>
                <c:pt idx="78">
                  <c:v>1812.3320345450568</c:v>
                </c:pt>
                <c:pt idx="79">
                  <c:v>1795.2707989246978</c:v>
                </c:pt>
                <c:pt idx="80">
                  <c:v>1778.3402521878743</c:v>
                </c:pt>
                <c:pt idx="81">
                  <c:v>1761.5447009916561</c:v>
                </c:pt>
                <c:pt idx="82">
                  <c:v>1744.8878432079011</c:v>
                </c:pt>
                <c:pt idx="83">
                  <c:v>1728.3728069481469</c:v>
                </c:pt>
                <c:pt idx="84">
                  <c:v>1712.0021937198203</c:v>
                </c:pt>
                <c:pt idx="85">
                  <c:v>1695.7780965190041</c:v>
                </c:pt>
                <c:pt idx="86">
                  <c:v>1679.7021083152752</c:v>
                </c:pt>
                <c:pt idx="87">
                  <c:v>1663.7753661548199</c:v>
                </c:pt>
                <c:pt idx="88">
                  <c:v>1647.9985905555657</c:v>
                </c:pt>
                <c:pt idx="89">
                  <c:v>1632.372115994777</c:v>
                </c:pt>
                <c:pt idx="90">
                  <c:v>1616.8959123403911</c:v>
                </c:pt>
                <c:pt idx="91">
                  <c:v>1601.5696045297864</c:v>
                </c:pt>
                <c:pt idx="92">
                  <c:v>1586.3925059786125</c:v>
                </c:pt>
                <c:pt idx="93">
                  <c:v>1571.3636421537481</c:v>
                </c:pt>
                <c:pt idx="94">
                  <c:v>1556.4817712153681</c:v>
                </c:pt>
                <c:pt idx="95">
                  <c:v>1541.7454102369252</c:v>
                </c:pt>
                <c:pt idx="96">
                  <c:v>1527.1528618889179</c:v>
                </c:pt>
                <c:pt idx="97">
                  <c:v>1512.7022390676784</c:v>
                </c:pt>
                <c:pt idx="98">
                  <c:v>1498.3914844767855</c:v>
                </c:pt>
                <c:pt idx="99">
                  <c:v>1484.2183880766661</c:v>
                </c:pt>
                <c:pt idx="100">
                  <c:v>1470.1806087597527</c:v>
                </c:pt>
                <c:pt idx="101">
                  <c:v>1456.2756952663613</c:v>
                </c:pt>
                <c:pt idx="102">
                  <c:v>1442.501103792124</c:v>
                </c:pt>
                <c:pt idx="103">
                  <c:v>1428.8542155778123</c:v>
                </c:pt>
                <c:pt idx="104">
                  <c:v>1415.3323535467998</c:v>
                </c:pt>
                <c:pt idx="105">
                  <c:v>1401.93279801088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AE2-42EA-A44F-23A358B5B2EF}"/>
            </c:ext>
          </c:extLst>
        </c:ser>
        <c:ser>
          <c:idx val="4"/>
          <c:order val="1"/>
          <c:tx>
            <c:strRef>
              <c:f>Sheet1!$F$1</c:f>
              <c:strCache>
                <c:ptCount val="1"/>
                <c:pt idx="0">
                  <c:v>II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1489.0133582381427</c:v>
                </c:pt>
                <c:pt idx="11">
                  <c:v>1536.6585710758609</c:v>
                </c:pt>
                <c:pt idx="12">
                  <c:v>1585.5007310874776</c:v>
                </c:pt>
                <c:pt idx="13">
                  <c:v>1635.7681414344906</c:v>
                </c:pt>
                <c:pt idx="14">
                  <c:v>1686.6459413709727</c:v>
                </c:pt>
                <c:pt idx="15">
                  <c:v>1736.6972062994382</c:v>
                </c:pt>
                <c:pt idx="16">
                  <c:v>1785.5668310482292</c:v>
                </c:pt>
                <c:pt idx="17">
                  <c:v>1831.7803073311661</c:v>
                </c:pt>
                <c:pt idx="18">
                  <c:v>1873.7327383444128</c:v>
                </c:pt>
                <c:pt idx="19">
                  <c:v>1911.3017099485949</c:v>
                </c:pt>
                <c:pt idx="20">
                  <c:v>1944.3998321745607</c:v>
                </c:pt>
                <c:pt idx="21">
                  <c:v>1972.1209077789231</c:v>
                </c:pt>
                <c:pt idx="22">
                  <c:v>1994.0819013153232</c:v>
                </c:pt>
                <c:pt idx="23">
                  <c:v>2010.5444498965285</c:v>
                </c:pt>
                <c:pt idx="24">
                  <c:v>2021.9285856149725</c:v>
                </c:pt>
                <c:pt idx="25">
                  <c:v>2028.6357887529773</c:v>
                </c:pt>
                <c:pt idx="26">
                  <c:v>2030.8819785750802</c:v>
                </c:pt>
                <c:pt idx="27">
                  <c:v>2028.7826740386824</c:v>
                </c:pt>
                <c:pt idx="28">
                  <c:v>2022.3257505588208</c:v>
                </c:pt>
                <c:pt idx="29">
                  <c:v>2011.8501062717439</c:v>
                </c:pt>
                <c:pt idx="30">
                  <c:v>1997.7838124829086</c:v>
                </c:pt>
                <c:pt idx="31">
                  <c:v>1980.4702853067292</c:v>
                </c:pt>
                <c:pt idx="32">
                  <c:v>1960.1674757716457</c:v>
                </c:pt>
                <c:pt idx="33">
                  <c:v>1937.2111266774778</c:v>
                </c:pt>
                <c:pt idx="34">
                  <c:v>1911.9733800059585</c:v>
                </c:pt>
                <c:pt idx="35">
                  <c:v>1884.6620217178938</c:v>
                </c:pt>
                <c:pt idx="36">
                  <c:v>1855.5572428842452</c:v>
                </c:pt>
                <c:pt idx="37">
                  <c:v>1824.9018650836254</c:v>
                </c:pt>
                <c:pt idx="38">
                  <c:v>1792.882626471993</c:v>
                </c:pt>
                <c:pt idx="39">
                  <c:v>1759.7429516427958</c:v>
                </c:pt>
                <c:pt idx="40">
                  <c:v>1725.7172894635737</c:v>
                </c:pt>
                <c:pt idx="41">
                  <c:v>1690.9588133222865</c:v>
                </c:pt>
                <c:pt idx="42">
                  <c:v>1655.6076905676955</c:v>
                </c:pt>
                <c:pt idx="43">
                  <c:v>1619.8279713073875</c:v>
                </c:pt>
                <c:pt idx="44">
                  <c:v>1583.7418073526183</c:v>
                </c:pt>
                <c:pt idx="45">
                  <c:v>1547.4637668883981</c:v>
                </c:pt>
                <c:pt idx="46">
                  <c:v>1511.1247525038402</c:v>
                </c:pt>
                <c:pt idx="47">
                  <c:v>1474.8108836935994</c:v>
                </c:pt>
                <c:pt idx="48">
                  <c:v>1438.978144907865</c:v>
                </c:pt>
                <c:pt idx="49">
                  <c:v>1403.6856794304822</c:v>
                </c:pt>
                <c:pt idx="50">
                  <c:v>1368.9641255580555</c:v>
                </c:pt>
                <c:pt idx="51">
                  <c:v>1334.852478302394</c:v>
                </c:pt>
                <c:pt idx="52">
                  <c:v>1301.3848468994026</c:v>
                </c:pt>
                <c:pt idx="53">
                  <c:v>1268.5899520742094</c:v>
                </c:pt>
                <c:pt idx="54">
                  <c:v>1236.4961425531139</c:v>
                </c:pt>
                <c:pt idx="55">
                  <c:v>1205.1223348463179</c:v>
                </c:pt>
                <c:pt idx="56">
                  <c:v>1174.4781906348851</c:v>
                </c:pt>
                <c:pt idx="57">
                  <c:v>1144.5636430592238</c:v>
                </c:pt>
                <c:pt idx="58">
                  <c:v>1115.3760255407503</c:v>
                </c:pt>
                <c:pt idx="59">
                  <c:v>1086.9137153317949</c:v>
                </c:pt>
                <c:pt idx="60">
                  <c:v>1059.1795853458041</c:v>
                </c:pt>
                <c:pt idx="61">
                  <c:v>1032.1797728807048</c:v>
                </c:pt>
                <c:pt idx="62">
                  <c:v>1005.9014830149531</c:v>
                </c:pt>
                <c:pt idx="63">
                  <c:v>980.33444333597527</c:v>
                </c:pt>
                <c:pt idx="64">
                  <c:v>955.47794715360544</c:v>
                </c:pt>
                <c:pt idx="65">
                  <c:v>931.31629456528026</c:v>
                </c:pt>
                <c:pt idx="66">
                  <c:v>907.83031536295243</c:v>
                </c:pt>
                <c:pt idx="67">
                  <c:v>885.01042587297877</c:v>
                </c:pt>
                <c:pt idx="68">
                  <c:v>862.84830857946042</c:v>
                </c:pt>
                <c:pt idx="69">
                  <c:v>841.32769772791039</c:v>
                </c:pt>
                <c:pt idx="70">
                  <c:v>820.43388213007427</c:v>
                </c:pt>
                <c:pt idx="71">
                  <c:v>800.15362797435125</c:v>
                </c:pt>
                <c:pt idx="72">
                  <c:v>780.47204692781702</c:v>
                </c:pt>
                <c:pt idx="73">
                  <c:v>761.3739126944937</c:v>
                </c:pt>
                <c:pt idx="74">
                  <c:v>742.84395975791608</c:v>
                </c:pt>
                <c:pt idx="75">
                  <c:v>724.8669258459546</c:v>
                </c:pt>
                <c:pt idx="76">
                  <c:v>707.42747314644134</c:v>
                </c:pt>
                <c:pt idx="77">
                  <c:v>690.51030326744535</c:v>
                </c:pt>
                <c:pt idx="78">
                  <c:v>674.1002036100906</c:v>
                </c:pt>
                <c:pt idx="79">
                  <c:v>658.18201618577052</c:v>
                </c:pt>
                <c:pt idx="80">
                  <c:v>642.74073241279882</c:v>
                </c:pt>
                <c:pt idx="81">
                  <c:v>627.7615427830001</c:v>
                </c:pt>
                <c:pt idx="82">
                  <c:v>613.22984192190586</c:v>
                </c:pt>
                <c:pt idx="83">
                  <c:v>599.13126088307354</c:v>
                </c:pt>
                <c:pt idx="84">
                  <c:v>585.45170081012486</c:v>
                </c:pt>
                <c:pt idx="85">
                  <c:v>572.17733825163918</c:v>
                </c:pt>
                <c:pt idx="86">
                  <c:v>559.2946185141767</c:v>
                </c:pt>
                <c:pt idx="87">
                  <c:v>546.79028237164289</c:v>
                </c:pt>
                <c:pt idx="88">
                  <c:v>534.65138618450135</c:v>
                </c:pt>
                <c:pt idx="89">
                  <c:v>522.86531136030715</c:v>
                </c:pt>
                <c:pt idx="90">
                  <c:v>511.41976355112138</c:v>
                </c:pt>
                <c:pt idx="91">
                  <c:v>500.3027691616474</c:v>
                </c:pt>
                <c:pt idx="92">
                  <c:v>489.50268449461419</c:v>
                </c:pt>
                <c:pt idx="93">
                  <c:v>479.00819446693669</c:v>
                </c:pt>
                <c:pt idx="94">
                  <c:v>468.80830776803589</c:v>
                </c:pt>
                <c:pt idx="95">
                  <c:v>458.89235747870634</c:v>
                </c:pt>
                <c:pt idx="96">
                  <c:v>449.25000202330295</c:v>
                </c:pt>
                <c:pt idx="97">
                  <c:v>439.87122399093863</c:v>
                </c:pt>
                <c:pt idx="98">
                  <c:v>430.7463241138131</c:v>
                </c:pt>
                <c:pt idx="99">
                  <c:v>421.86591335833612</c:v>
                </c:pt>
                <c:pt idx="100">
                  <c:v>413.22090957970408</c:v>
                </c:pt>
                <c:pt idx="101">
                  <c:v>404.80253383784827</c:v>
                </c:pt>
                <c:pt idx="102">
                  <c:v>396.60230392755659</c:v>
                </c:pt>
                <c:pt idx="103">
                  <c:v>388.61202849471664</c:v>
                </c:pt>
                <c:pt idx="104">
                  <c:v>380.82380090155664</c:v>
                </c:pt>
                <c:pt idx="105">
                  <c:v>373.229992856180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2729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89429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44503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6952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3584CE-9EBC-AD46-8819-745BF0C92CFB}" type="slidenum">
              <a:rPr kumimoji="0" lang="en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5114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12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2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12.sv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.svg"/><Relationship Id="rId5" Type="http://schemas.openxmlformats.org/officeDocument/2006/relationships/image" Target="../media/image11.png"/><Relationship Id="rId4" Type="http://schemas.openxmlformats.org/officeDocument/2006/relationships/image" Target="../media/image8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3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3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8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.svg"/><Relationship Id="rId5" Type="http://schemas.openxmlformats.org/officeDocument/2006/relationships/image" Target="../media/image11.png"/><Relationship Id="rId4" Type="http://schemas.openxmlformats.org/officeDocument/2006/relationships/image" Target="../media/image8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.emf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1.svg"/><Relationship Id="rId5" Type="http://schemas.openxmlformats.org/officeDocument/2006/relationships/image" Target="../media/image23.png"/><Relationship Id="rId4" Type="http://schemas.openxmlformats.org/officeDocument/2006/relationships/image" Target="../media/image3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svg"/><Relationship Id="rId5" Type="http://schemas.openxmlformats.org/officeDocument/2006/relationships/image" Target="../media/image26.png"/><Relationship Id="rId4" Type="http://schemas.openxmlformats.org/officeDocument/2006/relationships/image" Target="../media/image51.sv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svg"/><Relationship Id="rId5" Type="http://schemas.openxmlformats.org/officeDocument/2006/relationships/image" Target="../media/image26.png"/><Relationship Id="rId4" Type="http://schemas.openxmlformats.org/officeDocument/2006/relationships/image" Target="../media/image51.sv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1.svg"/><Relationship Id="rId5" Type="http://schemas.openxmlformats.org/officeDocument/2006/relationships/image" Target="../media/image23.png"/><Relationship Id="rId4" Type="http://schemas.openxmlformats.org/officeDocument/2006/relationships/image" Target="../media/image3.sv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1.svg"/><Relationship Id="rId5" Type="http://schemas.openxmlformats.org/officeDocument/2006/relationships/image" Target="../media/image2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323013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049993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624051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828117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051269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315721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353354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734734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484672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628599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383611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97171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3897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398723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127766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3176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19323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472702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398211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90238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617677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33627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26925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711699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4017308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7567905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70111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427404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3616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80715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7016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4290871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182081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8870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14435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715268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686792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5969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9786809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82707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547353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3362482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5810437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6836370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2089216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4376731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43723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9553884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27832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032461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095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1821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868458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231908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47617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2531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04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04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image" Target="../media/image5.sv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8.sv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image" Target="../media/image16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4159AF-26F1-42E1-BF83-F89C20A19403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99831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316554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  <p:sldLayoutId id="2147484105" r:id="rId9"/>
    <p:sldLayoutId id="2147484204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82908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7" r:id="rId6"/>
    <p:sldLayoutId id="2147484008" r:id="rId7"/>
    <p:sldLayoutId id="2147484009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764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115" r:id="rId2"/>
    <p:sldLayoutId id="2147484116" r:id="rId3"/>
    <p:sldLayoutId id="2147484117" r:id="rId4"/>
    <p:sldLayoutId id="2147484118" r:id="rId5"/>
    <p:sldLayoutId id="2147484119" r:id="rId6"/>
    <p:sldLayoutId id="2147484120" r:id="rId7"/>
    <p:sldLayoutId id="2147484121" r:id="rId8"/>
    <p:sldLayoutId id="2147484122" r:id="rId9"/>
    <p:sldLayoutId id="214748412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1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2613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2" r:id="rId1"/>
    <p:sldLayoutId id="2147484133" r:id="rId2"/>
    <p:sldLayoutId id="2147484134" r:id="rId3"/>
    <p:sldLayoutId id="2147484135" r:id="rId4"/>
    <p:sldLayoutId id="2147484136" r:id="rId5"/>
    <p:sldLayoutId id="2147484137" r:id="rId6"/>
    <p:sldLayoutId id="2147484138" r:id="rId7"/>
    <p:sldLayoutId id="2147484139" r:id="rId8"/>
    <p:sldLayoutId id="2147484140" r:id="rId9"/>
    <p:sldLayoutId id="2147484141" r:id="rId10"/>
    <p:sldLayoutId id="214748414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29730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8" r:id="rId1"/>
    <p:sldLayoutId id="2147484199" r:id="rId2"/>
    <p:sldLayoutId id="2147484200" r:id="rId3"/>
    <p:sldLayoutId id="2147484201" r:id="rId4"/>
    <p:sldLayoutId id="2147484202" r:id="rId5"/>
    <p:sldLayoutId id="2147484203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chart" Target="../charts/chart5.xml"/><Relationship Id="rId4" Type="http://schemas.openxmlformats.org/officeDocument/2006/relationships/notesSlide" Target="../notesSlides/notesSlid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chart" Target="../charts/chart6.xml"/><Relationship Id="rId4" Type="http://schemas.openxmlformats.org/officeDocument/2006/relationships/notesSlide" Target="../notesSlides/notesSlide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notesSlide" Target="../notesSlides/notesSlide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6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chart" Target="../charts/chart8.xml"/><Relationship Id="rId4" Type="http://schemas.openxmlformats.org/officeDocument/2006/relationships/slideLayout" Target="../slideLayouts/slideLayout2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chart" Target="../charts/chart9.xml"/><Relationship Id="rId4" Type="http://schemas.openxmlformats.org/officeDocument/2006/relationships/slideLayout" Target="../slideLayouts/slideLayout2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3.xml"/><Relationship Id="rId1" Type="http://schemas.openxmlformats.org/officeDocument/2006/relationships/tags" Target="../tags/tag2.xml"/><Relationship Id="rId4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28.pn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image" Target="../media/image27.png"/><Relationship Id="rId2" Type="http://schemas.openxmlformats.org/officeDocument/2006/relationships/tags" Target="../tags/tag4.xml"/><Relationship Id="rId16" Type="http://schemas.openxmlformats.org/officeDocument/2006/relationships/image" Target="../media/image31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slideLayout" Target="../slideLayouts/slideLayout35.xml"/><Relationship Id="rId5" Type="http://schemas.openxmlformats.org/officeDocument/2006/relationships/tags" Target="../tags/tag7.xml"/><Relationship Id="rId15" Type="http://schemas.openxmlformats.org/officeDocument/2006/relationships/image" Target="../media/image30.png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tav epidemie k </a:t>
            </a:r>
            <a:r>
              <a:rPr lang="cs-CZ" sz="4800" b="1" dirty="0" smtClean="0"/>
              <a:t>14. </a:t>
            </a:r>
            <a:r>
              <a:rPr lang="cs-CZ" sz="4800" b="1" dirty="0"/>
              <a:t>4. 2021</a:t>
            </a:r>
          </a:p>
          <a:p>
            <a:r>
              <a:rPr lang="cs-CZ" sz="4800" b="1" dirty="0" smtClean="0"/>
              <a:t>Stručný </a:t>
            </a:r>
            <a:r>
              <a:rPr lang="cs-CZ" sz="4800" b="1" dirty="0"/>
              <a:t>přehled </a:t>
            </a:r>
            <a:r>
              <a:rPr lang="cs-CZ" sz="4800" b="1" dirty="0" smtClean="0"/>
              <a:t>dat a výběr z predikcí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459386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877396" y="4169765"/>
            <a:ext cx="2829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8581"/>
            <a:ext cx="1900937" cy="1908215"/>
            <a:chOff x="10258697" y="3527722"/>
            <a:chExt cx="1900937" cy="1908215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D1B3FBA-E128-4E3B-A481-9ABC867903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47DC97C-FD01-4FD4-8BED-64EC65B6A8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7722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</a:t>
              </a:r>
              <a:r>
                <a:rPr kumimoji="0" lang="cs-CZ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čty</a:t>
              </a:r>
              <a:endPara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8A11B017-1740-4D99-AF40-0CE45544A6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7C5A792-BEB3-40F4-98BB-7431BA7FEF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graphicFrame>
        <p:nvGraphicFramePr>
          <p:cNvPr id="21" name="Tabulka 8">
            <a:extLst>
              <a:ext uri="{FF2B5EF4-FFF2-40B4-BE49-F238E27FC236}">
                <a16:creationId xmlns:a16="http://schemas.microsoft.com/office/drawing/2014/main" id="{09D6B58A-D08C-444F-A99C-551A355549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421582"/>
              </p:ext>
            </p:extLst>
          </p:nvPr>
        </p:nvGraphicFramePr>
        <p:xfrm>
          <a:off x="197157" y="672324"/>
          <a:ext cx="11797686" cy="148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5427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2353101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126272650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45180415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37331450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49886245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91621254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0060369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09464290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686944603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932876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90519118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856643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2.–3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3.–10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3.–17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3.–24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3.–31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4.–7. 4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09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13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22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10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39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43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913717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0,3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4,8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,6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9,0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6,5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343836"/>
                  </a:ext>
                </a:extLst>
              </a:tr>
            </a:tbl>
          </a:graphicData>
        </a:graphic>
      </p:graphicFrame>
      <p:sp>
        <p:nvSpPr>
          <p:cNvPr id="28" name="Zahnutá šipka nahoru 25">
            <a:extLst>
              <a:ext uri="{FF2B5EF4-FFF2-40B4-BE49-F238E27FC236}">
                <a16:creationId xmlns:a16="http://schemas.microsoft.com/office/drawing/2014/main" id="{E359B7D7-130C-4173-9EFC-47F321C82F4E}"/>
              </a:ext>
            </a:extLst>
          </p:cNvPr>
          <p:cNvSpPr/>
          <p:nvPr/>
        </p:nvSpPr>
        <p:spPr>
          <a:xfrm>
            <a:off x="1203450" y="2013982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/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Zahnutá šipka nahoru 25">
            <a:extLst>
              <a:ext uri="{FF2B5EF4-FFF2-40B4-BE49-F238E27FC236}">
                <a16:creationId xmlns:a16="http://schemas.microsoft.com/office/drawing/2014/main" id="{64D205E5-DBC4-422A-BF09-BCA621280F66}"/>
              </a:ext>
            </a:extLst>
          </p:cNvPr>
          <p:cNvSpPr/>
          <p:nvPr/>
        </p:nvSpPr>
        <p:spPr>
          <a:xfrm>
            <a:off x="9056914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4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5732049"/>
              </p:ext>
            </p:extLst>
          </p:nvPr>
        </p:nvGraphicFramePr>
        <p:xfrm>
          <a:off x="751072" y="2511822"/>
          <a:ext cx="11080443" cy="4379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43468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9588" y="3973640"/>
            <a:ext cx="28293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19677" y="4073381"/>
            <a:ext cx="1900937" cy="1908215"/>
            <a:chOff x="10258697" y="3527722"/>
            <a:chExt cx="1900937" cy="1908215"/>
          </a:xfrm>
        </p:grpSpPr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AD1B3FBA-E128-4E3B-A481-9ABC867903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D47DC97C-FD01-4FD4-8BED-64EC65B6A8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Obdélník 27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7722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</a:t>
              </a:r>
              <a:r>
                <a:rPr kumimoji="0" lang="cs-CZ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čty</a:t>
              </a:r>
              <a:endPara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8A11B017-1740-4D99-AF40-0CE45544A6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07C5A792-BEB3-40F4-98BB-7431BA7FEF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lang="cs-CZ" sz="2800" b="1" u="sng" dirty="0">
                <a:solidFill>
                  <a:srgbClr val="0000FF"/>
                </a:solidFill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7" name="Tabulka 8">
            <a:extLst>
              <a:ext uri="{FF2B5EF4-FFF2-40B4-BE49-F238E27FC236}">
                <a16:creationId xmlns:a16="http://schemas.microsoft.com/office/drawing/2014/main" id="{6B7F79D0-8EDC-4EB5-A2DD-9DA744FC0B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5860004"/>
              </p:ext>
            </p:extLst>
          </p:nvPr>
        </p:nvGraphicFramePr>
        <p:xfrm>
          <a:off x="187920" y="496835"/>
          <a:ext cx="11797686" cy="148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5427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2353101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126272650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45180415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37331450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49886245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91621254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0060369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09464290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686944603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932876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90519118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856643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2.–3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3.–10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3.–17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3.–24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3.–31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4.–7. 4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8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5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6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8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0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9 hospitalizací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913717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12,9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7,0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,1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6,9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343836"/>
                  </a:ext>
                </a:extLst>
              </a:tr>
            </a:tbl>
          </a:graphicData>
        </a:graphic>
      </p:graphicFrame>
      <p:sp>
        <p:nvSpPr>
          <p:cNvPr id="38" name="Zahnutá šipka nahoru 25">
            <a:extLst>
              <a:ext uri="{FF2B5EF4-FFF2-40B4-BE49-F238E27FC236}">
                <a16:creationId xmlns:a16="http://schemas.microsoft.com/office/drawing/2014/main" id="{3D31CB96-ADEB-47C9-A675-E23FD094E077}"/>
              </a:ext>
            </a:extLst>
          </p:cNvPr>
          <p:cNvSpPr/>
          <p:nvPr/>
        </p:nvSpPr>
        <p:spPr>
          <a:xfrm>
            <a:off x="1194213" y="1838493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Zahnutá šipka nahoru 25">
            <a:extLst>
              <a:ext uri="{FF2B5EF4-FFF2-40B4-BE49-F238E27FC236}">
                <a16:creationId xmlns:a16="http://schemas.microsoft.com/office/drawing/2014/main" id="{531FA440-D950-4855-8A5A-41583949B9D7}"/>
              </a:ext>
            </a:extLst>
          </p:cNvPr>
          <p:cNvSpPr/>
          <p:nvPr/>
        </p:nvSpPr>
        <p:spPr>
          <a:xfrm>
            <a:off x="3163628" y="1838493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Zahnutá šipka nahoru 25">
            <a:extLst>
              <a:ext uri="{FF2B5EF4-FFF2-40B4-BE49-F238E27FC236}">
                <a16:creationId xmlns:a16="http://schemas.microsoft.com/office/drawing/2014/main" id="{EED5D406-688B-4028-B433-E17549E6B582}"/>
              </a:ext>
            </a:extLst>
          </p:cNvPr>
          <p:cNvSpPr/>
          <p:nvPr/>
        </p:nvSpPr>
        <p:spPr>
          <a:xfrm>
            <a:off x="5107628" y="1838493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Zahnutá šipka nahoru 25">
            <a:extLst>
              <a:ext uri="{FF2B5EF4-FFF2-40B4-BE49-F238E27FC236}">
                <a16:creationId xmlns:a16="http://schemas.microsoft.com/office/drawing/2014/main" id="{239684B6-1F9E-4D4A-99B3-465E0D266E48}"/>
              </a:ext>
            </a:extLst>
          </p:cNvPr>
          <p:cNvSpPr/>
          <p:nvPr/>
        </p:nvSpPr>
        <p:spPr>
          <a:xfrm>
            <a:off x="7077043" y="1838493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Zahnutá šipka nahoru 25">
            <a:extLst>
              <a:ext uri="{FF2B5EF4-FFF2-40B4-BE49-F238E27FC236}">
                <a16:creationId xmlns:a16="http://schemas.microsoft.com/office/drawing/2014/main" id="{014848F3-E01B-4FEE-A43C-793BB5BF9DED}"/>
              </a:ext>
            </a:extLst>
          </p:cNvPr>
          <p:cNvSpPr/>
          <p:nvPr/>
        </p:nvSpPr>
        <p:spPr>
          <a:xfrm>
            <a:off x="9047677" y="1838493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8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73910805"/>
              </p:ext>
            </p:extLst>
          </p:nvPr>
        </p:nvGraphicFramePr>
        <p:xfrm>
          <a:off x="728259" y="2354321"/>
          <a:ext cx="10997787" cy="45036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13863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D48422-1472-2B43-AFF4-50C66979E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961" y="93910"/>
            <a:ext cx="11490037" cy="1325563"/>
          </a:xfrm>
        </p:spPr>
        <p:txBody>
          <a:bodyPr>
            <a:noAutofit/>
          </a:bodyPr>
          <a:lstStyle/>
          <a:p>
            <a:pPr algn="ctr"/>
            <a:r>
              <a:rPr lang="en-CZ" sz="3400" b="1" dirty="0"/>
              <a:t/>
            </a:r>
            <a:br>
              <a:rPr lang="en-CZ" sz="3400" b="1" dirty="0"/>
            </a:br>
            <a:r>
              <a:rPr lang="en-CZ" sz="4000" b="1" dirty="0">
                <a:latin typeface="+mn-lt"/>
              </a:rPr>
              <a:t>Aktuální </a:t>
            </a:r>
            <a:r>
              <a:rPr lang="cs-CZ" sz="4000" b="1" dirty="0">
                <a:latin typeface="+mn-lt"/>
              </a:rPr>
              <a:t>počty </a:t>
            </a:r>
            <a:r>
              <a:rPr lang="en-CZ" sz="4000" b="1" dirty="0">
                <a:latin typeface="+mn-lt"/>
              </a:rPr>
              <a:t>hospitalizovaných</a:t>
            </a:r>
            <a:r>
              <a:rPr lang="cs-CZ" sz="4000" b="1" dirty="0">
                <a:latin typeface="+mn-lt"/>
              </a:rPr>
              <a:t> pacientů </a:t>
            </a:r>
            <a:r>
              <a:rPr lang="cs-CZ" sz="4000" b="1" dirty="0" smtClean="0">
                <a:latin typeface="+mn-lt"/>
              </a:rPr>
              <a:t>klesají</a:t>
            </a:r>
            <a:r>
              <a:rPr lang="cs-CZ" sz="4000" b="1" dirty="0">
                <a:latin typeface="+mn-lt"/>
              </a:rPr>
              <a:t/>
            </a:r>
            <a:br>
              <a:rPr lang="cs-CZ" sz="4000" b="1" dirty="0">
                <a:latin typeface="+mn-lt"/>
              </a:rPr>
            </a:br>
            <a:r>
              <a:rPr lang="cs-CZ" sz="4000" b="1" dirty="0" smtClean="0">
                <a:latin typeface="+mn-lt"/>
              </a:rPr>
              <a:t>a roste i dostupná kapacita lůžek, včetně JIP</a:t>
            </a:r>
            <a:endParaRPr lang="en-CZ" sz="4000" b="1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6AA7CEA-DA9D-FB48-ACE8-2C23380168C2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782785" y="3294205"/>
            <a:ext cx="10515600" cy="3448339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sz="5700" dirty="0"/>
              <a:t>C</a:t>
            </a:r>
            <a:r>
              <a:rPr lang="en-CZ" sz="5700" dirty="0"/>
              <a:t>elkem v nemocnici: 		</a:t>
            </a:r>
            <a:r>
              <a:rPr lang="cs-CZ" sz="5700" dirty="0">
                <a:solidFill>
                  <a:srgbClr val="FF0000"/>
                </a:solidFill>
              </a:rPr>
              <a:t>5 </a:t>
            </a:r>
            <a:r>
              <a:rPr lang="cs-CZ" sz="5700" dirty="0" smtClean="0">
                <a:solidFill>
                  <a:srgbClr val="FF0000"/>
                </a:solidFill>
              </a:rPr>
              <a:t>129</a:t>
            </a:r>
            <a:endParaRPr lang="en-CZ" sz="5700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CZ" sz="5700" dirty="0"/>
              <a:t>Z toho JIP:					</a:t>
            </a:r>
            <a:r>
              <a:rPr lang="cs-CZ" sz="5700" dirty="0">
                <a:solidFill>
                  <a:srgbClr val="FF0000"/>
                </a:solidFill>
              </a:rPr>
              <a:t>1 </a:t>
            </a:r>
            <a:r>
              <a:rPr lang="cs-CZ" sz="5700" dirty="0" smtClean="0">
                <a:solidFill>
                  <a:srgbClr val="FF0000"/>
                </a:solidFill>
              </a:rPr>
              <a:t>166</a:t>
            </a:r>
            <a:endParaRPr lang="en-CZ" sz="5700" dirty="0"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CZ" sz="5700" dirty="0"/>
              <a:t>Z toho UPV: 				 	</a:t>
            </a:r>
            <a:r>
              <a:rPr lang="cs-CZ" sz="5700" dirty="0" smtClean="0">
                <a:solidFill>
                  <a:srgbClr val="FF0000"/>
                </a:solidFill>
              </a:rPr>
              <a:t>566</a:t>
            </a:r>
            <a:r>
              <a:rPr lang="en-CZ" sz="5700" dirty="0" smtClean="0">
                <a:solidFill>
                  <a:srgbClr val="FF0000"/>
                </a:solidFill>
              </a:rPr>
              <a:t>       </a:t>
            </a:r>
            <a:endParaRPr lang="en-CZ" sz="5700" dirty="0">
              <a:solidFill>
                <a:srgbClr val="FF0000"/>
              </a:solidFill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CZ" sz="5700" dirty="0"/>
              <a:t>Z toho ECMO:				</a:t>
            </a:r>
            <a:r>
              <a:rPr lang="cs-CZ" sz="5700" dirty="0" smtClean="0">
                <a:solidFill>
                  <a:srgbClr val="FF0000"/>
                </a:solidFill>
              </a:rPr>
              <a:t>21</a:t>
            </a:r>
            <a:endParaRPr lang="en-CZ" sz="4700" i="1" dirty="0"/>
          </a:p>
        </p:txBody>
      </p:sp>
      <p:sp>
        <p:nvSpPr>
          <p:cNvPr id="2" name="Šipka dolů 1"/>
          <p:cNvSpPr/>
          <p:nvPr/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7706306" y="2677172"/>
            <a:ext cx="2948709" cy="46166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</a:t>
            </a:r>
            <a:r>
              <a:rPr lang="cs-CZ" sz="2400" b="1" noProof="0" dirty="0" smtClean="0">
                <a:solidFill>
                  <a:prstClr val="white"/>
                </a:solidFill>
                <a:latin typeface="Calibri" panose="020F0502020204030204"/>
              </a:rPr>
              <a:t>14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lang="cs-CZ" sz="2400" b="1" dirty="0">
                <a:solidFill>
                  <a:prstClr val="white"/>
                </a:solidFill>
                <a:latin typeface="Calibri" panose="020F0502020204030204"/>
              </a:rPr>
              <a:t>4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8232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1119" y="2587011"/>
            <a:ext cx="2923309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akutní lůžka C+ pacien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 16:14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173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25"/>
          <p:cNvSpPr/>
          <p:nvPr/>
        </p:nvSpPr>
        <p:spPr>
          <a:xfrm>
            <a:off x="2888055" y="5642423"/>
            <a:ext cx="334790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Nemocnice s aktualizací starší 48 hod.: 7</a:t>
            </a: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x</a:t>
            </a: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9" name="Obrázek 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816" y="6011755"/>
            <a:ext cx="8628301" cy="258300"/>
          </a:xfrm>
          <a:prstGeom prst="rect">
            <a:avLst/>
          </a:prstGeom>
        </p:spPr>
      </p:pic>
      <p:graphicFrame>
        <p:nvGraphicFramePr>
          <p:cNvPr id="5" name="Tabulka 4"/>
          <p:cNvGraphicFramePr>
            <a:graphicFrameLocks noGrp="1"/>
          </p:cNvGraphicFramePr>
          <p:nvPr>
            <p:extLst/>
          </p:nvPr>
        </p:nvGraphicFramePr>
        <p:xfrm>
          <a:off x="332816" y="1091316"/>
          <a:ext cx="8732053" cy="4706421"/>
        </p:xfrm>
        <a:graphic>
          <a:graphicData uri="http://schemas.openxmlformats.org/drawingml/2006/table">
            <a:tbl>
              <a:tblPr/>
              <a:tblGrid>
                <a:gridCol w="2232368">
                  <a:extLst>
                    <a:ext uri="{9D8B030D-6E8A-4147-A177-3AD203B41FA5}">
                      <a16:colId xmlns:a16="http://schemas.microsoft.com/office/drawing/2014/main" val="3315857226"/>
                    </a:ext>
                  </a:extLst>
                </a:gridCol>
                <a:gridCol w="1366757">
                  <a:extLst>
                    <a:ext uri="{9D8B030D-6E8A-4147-A177-3AD203B41FA5}">
                      <a16:colId xmlns:a16="http://schemas.microsoft.com/office/drawing/2014/main" val="4019512837"/>
                    </a:ext>
                  </a:extLst>
                </a:gridCol>
                <a:gridCol w="1264249">
                  <a:extLst>
                    <a:ext uri="{9D8B030D-6E8A-4147-A177-3AD203B41FA5}">
                      <a16:colId xmlns:a16="http://schemas.microsoft.com/office/drawing/2014/main" val="2657133354"/>
                    </a:ext>
                  </a:extLst>
                </a:gridCol>
                <a:gridCol w="1252860">
                  <a:extLst>
                    <a:ext uri="{9D8B030D-6E8A-4147-A177-3AD203B41FA5}">
                      <a16:colId xmlns:a16="http://schemas.microsoft.com/office/drawing/2014/main" val="4025542527"/>
                    </a:ext>
                  </a:extLst>
                </a:gridCol>
                <a:gridCol w="1306012">
                  <a:extLst>
                    <a:ext uri="{9D8B030D-6E8A-4147-A177-3AD203B41FA5}">
                      <a16:colId xmlns:a16="http://schemas.microsoft.com/office/drawing/2014/main" val="1718026770"/>
                    </a:ext>
                  </a:extLst>
                </a:gridCol>
                <a:gridCol w="1309807">
                  <a:extLst>
                    <a:ext uri="{9D8B030D-6E8A-4147-A177-3AD203B41FA5}">
                      <a16:colId xmlns:a16="http://schemas.microsoft.com/office/drawing/2014/main" val="3659712234"/>
                    </a:ext>
                  </a:extLst>
                </a:gridCol>
              </a:tblGrid>
              <a:tr h="195823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akutních lůžek (ARO + JIP) v ČR k 14.4. 2021, 5:30 h</a:t>
                      </a:r>
                    </a:p>
                  </a:txBody>
                  <a:tcPr marL="7410" marR="7410" marT="74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3353542"/>
                  </a:ext>
                </a:extLst>
              </a:tr>
              <a:tr h="195823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1450236"/>
                  </a:ext>
                </a:extLst>
              </a:tr>
              <a:tr h="19582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utní lůžka IP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1468641"/>
                  </a:ext>
                </a:extLst>
              </a:tr>
              <a:tr h="47071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/CPAP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/CPAPpro Covid+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/NIV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/NIV pro Covid+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5711154"/>
                  </a:ext>
                </a:extLst>
              </a:tr>
              <a:tr h="1958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8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4605741"/>
                  </a:ext>
                </a:extLst>
              </a:tr>
              <a:tr h="1958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644858"/>
                  </a:ext>
                </a:extLst>
              </a:tr>
              <a:tr h="3157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4853372"/>
                  </a:ext>
                </a:extLst>
              </a:tr>
              <a:tr h="1958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997617"/>
                  </a:ext>
                </a:extLst>
              </a:tr>
              <a:tr h="1958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6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292145"/>
                  </a:ext>
                </a:extLst>
              </a:tr>
              <a:tr h="1958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1294714"/>
                  </a:ext>
                </a:extLst>
              </a:tr>
              <a:tr h="1958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534900"/>
                  </a:ext>
                </a:extLst>
              </a:tr>
              <a:tr h="1958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4796771"/>
                  </a:ext>
                </a:extLst>
              </a:tr>
              <a:tr h="1958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4563283"/>
                  </a:ext>
                </a:extLst>
              </a:tr>
              <a:tr h="1958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0819881"/>
                  </a:ext>
                </a:extLst>
              </a:tr>
              <a:tr h="1958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3413218"/>
                  </a:ext>
                </a:extLst>
              </a:tr>
              <a:tr h="1958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7298320"/>
                  </a:ext>
                </a:extLst>
              </a:tr>
              <a:tr h="3157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9646922"/>
                  </a:ext>
                </a:extLst>
              </a:tr>
              <a:tr h="1958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5295744"/>
                  </a:ext>
                </a:extLst>
              </a:tr>
              <a:tr h="1958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15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5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8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2009147"/>
                  </a:ext>
                </a:extLst>
              </a:tr>
              <a:tr h="315742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7410" marR="7410" marT="741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6116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3430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642" y="3931234"/>
            <a:ext cx="11905307" cy="1974265"/>
          </a:xfrm>
        </p:spPr>
        <p:txBody>
          <a:bodyPr>
            <a:noAutofit/>
          </a:bodyPr>
          <a:lstStyle/>
          <a:p>
            <a:r>
              <a:rPr lang="cs-CZ" sz="4800" b="1" dirty="0"/>
              <a:t>Vybrané výstupy z prediktivních </a:t>
            </a:r>
            <a:r>
              <a:rPr lang="cs-CZ" sz="4800" b="1" dirty="0" smtClean="0"/>
              <a:t>modelů</a:t>
            </a:r>
            <a:endParaRPr lang="cs-CZ" sz="4800" b="1" dirty="0"/>
          </a:p>
        </p:txBody>
      </p:sp>
    </p:spTree>
    <p:extLst>
      <p:ext uri="{BB962C8B-B14F-4D97-AF65-F5344CB8AC3E}">
        <p14:creationId xmlns:p14="http://schemas.microsoft.com/office/powerpoint/2010/main" val="2012525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69682" y="1917135"/>
            <a:ext cx="11802358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á kalibrace modelu pro rychlé brždění epidemie provedená dne 5.3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400" b="0" i="1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400" i="1" kern="0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od konce </a:t>
            </a:r>
            <a:r>
              <a:rPr kumimoji="0" lang="cs-CZ" sz="34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řezna 2021 ukazuje na rychlejší zpomalování epidemie. V tomto trendu se již s vysokou pravděpodobností promítá postupující očkování populace. </a:t>
            </a:r>
            <a:endParaRPr kumimoji="0" lang="cs-CZ" sz="3400" b="0" i="1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Šipka dolů 1"/>
          <p:cNvSpPr/>
          <p:nvPr/>
        </p:nvSpPr>
        <p:spPr>
          <a:xfrm>
            <a:off x="5418742" y="3268962"/>
            <a:ext cx="1304237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á predikce dle modelu SEIR, který byl pro epidemii COVID-19 </a:t>
            </a:r>
            <a:endParaRPr kumimoji="0" lang="cs-CZ" sz="30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R adaptován na počátku dubna 2020. 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57395" y="5891166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3383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6EFD455E-39FC-4034-B0D0-031479D5C8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659" y="152911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ch opatření na mobilitu od 19.2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</a:t>
            </a:r>
            <a:r>
              <a:rPr kumimoji="0" lang="cs-CZ" sz="1600" b="1" i="0" u="sng" strike="noStrike" kern="0" cap="none" spc="0" normalizeH="0" baseline="0" noProof="0" dirty="0" smtClean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konce února</a:t>
            </a:r>
            <a:endParaRPr kumimoji="0" lang="cs-CZ" sz="1600" b="1" i="0" u="sng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64253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8BD1260E-6658-49A8-879C-E2D5B44E70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623" y="152911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ch opatření na mobilitu od 19.2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lvl="1">
              <a:defRPr/>
            </a:pPr>
            <a:r>
              <a:rPr lang="cs-CZ" sz="1600" b="1" u="sng" kern="0" dirty="0">
                <a:solidFill>
                  <a:srgbClr val="D31145"/>
                </a:solidFill>
              </a:rPr>
              <a:t>Efekt opatření od konce února</a:t>
            </a:r>
            <a:endParaRPr lang="cs-CZ" sz="1600" b="1" u="sng" kern="0" dirty="0">
              <a:solidFill>
                <a:srgbClr val="0070C0"/>
              </a:solidFill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97235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5. 3. 2021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a akceptace opatření z 1.3 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" name="Chart 4">
            <a:extLst>
              <a:ext uri="{FF2B5EF4-FFF2-40B4-BE49-F238E27FC236}">
                <a16:creationId xmlns:a16="http://schemas.microsoft.com/office/drawing/2014/main" id="{6AF8037E-9CEB-4EF9-871D-03B93915FF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95147384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A1249C80-BFB2-40C2-AF2B-7672FDA1BE4E}"/>
              </a:ext>
            </a:extLst>
          </p:cNvPr>
          <p:cNvCxnSpPr>
            <a:cxnSpLocks/>
          </p:cNvCxnSpPr>
          <p:nvPr/>
        </p:nvCxnSpPr>
        <p:spPr>
          <a:xfrm>
            <a:off x="8152951" y="3139519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80D93A6D-177B-4185-B647-B8DF07634E10}"/>
              </a:ext>
            </a:extLst>
          </p:cNvPr>
          <p:cNvCxnSpPr>
            <a:cxnSpLocks/>
          </p:cNvCxnSpPr>
          <p:nvPr/>
        </p:nvCxnSpPr>
        <p:spPr>
          <a:xfrm>
            <a:off x="8152951" y="3440650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65" name="TextovéPole 64">
            <a:extLst>
              <a:ext uri="{FF2B5EF4-FFF2-40B4-BE49-F238E27FC236}">
                <a16:creationId xmlns:a16="http://schemas.microsoft.com/office/drawing/2014/main" id="{B21BAD46-7FFA-4099-88CF-9B8E5DBF5FEB}"/>
              </a:ext>
            </a:extLst>
          </p:cNvPr>
          <p:cNvSpPr txBox="1"/>
          <p:nvPr/>
        </p:nvSpPr>
        <p:spPr>
          <a:xfrm>
            <a:off x="3174357" y="878656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: udržení a částečné posílení opatření z 1.3.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55989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52413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2. 4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554693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B/C ze dne 5. 3. 2021)</a:t>
            </a:r>
          </a:p>
        </p:txBody>
      </p:sp>
    </p:spTree>
    <p:extLst>
      <p:ext uri="{BB962C8B-B14F-4D97-AF65-F5344CB8AC3E}">
        <p14:creationId xmlns:p14="http://schemas.microsoft.com/office/powerpoint/2010/main" val="34104742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69682" y="1917135"/>
            <a:ext cx="1180235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400" b="0" i="1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400" i="1" kern="0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800" b="1" i="1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. to dokládá</a:t>
            </a:r>
            <a:r>
              <a:rPr kumimoji="0" lang="cs-CZ" sz="3800" b="1" i="1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 simulace možného dopadu rozvolnění, která zakalkulovala částečný návrat dětí do ško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800" b="1" i="1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navýšení rizikových kontaktů v populaci o 10 až 20% </a:t>
            </a:r>
            <a:endParaRPr kumimoji="0" lang="cs-CZ" sz="3800" b="0" i="1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Šipka dolů 1"/>
          <p:cNvSpPr/>
          <p:nvPr/>
        </p:nvSpPr>
        <p:spPr>
          <a:xfrm>
            <a:off x="5475831" y="2290675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přes rychlé zpomalování epidemie</a:t>
            </a:r>
            <a:r>
              <a:rPr kumimoji="0" lang="cs-CZ" sz="36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e stále zátěž nemocnic velmi vysoká a epidemie na populační úrovni má potenciál vrátit trend k opětovnému růstu …. </a:t>
            </a:r>
            <a:endParaRPr kumimoji="0" lang="cs-CZ" sz="3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51252" y="5133784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7454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47776" y="2362711"/>
            <a:ext cx="11737832" cy="4370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200" b="1" dirty="0"/>
              <a:t>Tento trend je prokazatelný, ačkoli nyní srovnáváme nová data s referenčním obdobím, které zahrnuje </a:t>
            </a:r>
            <a:r>
              <a:rPr lang="cs-CZ" sz="3200" b="1" dirty="0" smtClean="0"/>
              <a:t>Velikonoce. Ve sváteční dny došlo ke snížení prováděných testů a nízké záchyty nemoci </a:t>
            </a:r>
          </a:p>
          <a:p>
            <a:pPr lvl="0" algn="ctr">
              <a:defRPr/>
            </a:pPr>
            <a:r>
              <a:rPr lang="cs-CZ" sz="3200" b="1" dirty="0" smtClean="0"/>
              <a:t>o Velikonocích zkreslují odhad reprodukčního čísla. </a:t>
            </a:r>
            <a:endParaRPr lang="cs-CZ" sz="3200" b="1" dirty="0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0" i="0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000" b="1" dirty="0" smtClean="0">
                <a:solidFill>
                  <a:srgbClr val="0000FF"/>
                </a:solidFill>
                <a:latin typeface="Calibri" panose="020F0502020204030204"/>
              </a:rPr>
              <a:t>Reprodukční číslo kalkulované standardně na týdenní časové periodě zdánlivě narůstá vlivem Velikonočních dat (hodnota 1,07). Pokud R kalkulujeme na 14denním časovém okně, je hodnota 0,83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236290" y="193277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zpomaluje, </a:t>
            </a:r>
            <a:r>
              <a:rPr kumimoji="0" lang="cs-CZ" sz="3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tvrzují to i nové záchyty onemocnění z 12.4. – 13.4.,</a:t>
            </a:r>
            <a:r>
              <a:rPr kumimoji="0" lang="cs-CZ" sz="3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teré činí </a:t>
            </a:r>
            <a:r>
              <a:rPr kumimoji="0" lang="cs-CZ" sz="3800" b="1" i="0" u="sng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 843 a 5 033 případů</a:t>
            </a:r>
            <a:endParaRPr kumimoji="0" lang="cs-CZ" sz="38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236290" y="45505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922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193587B1-A5E0-4545-B6D5-23B6D9A3F6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2661" y="1531911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ho rozvolnění 12.-19.4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ádaný 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2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školních kontaktů na 3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ch/jiný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9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4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cxnSp>
        <p:nvCxnSpPr>
          <p:cNvPr id="4" name="Přímá spojnice se šipkou 3"/>
          <p:cNvCxnSpPr/>
          <p:nvPr/>
        </p:nvCxnSpPr>
        <p:spPr>
          <a:xfrm>
            <a:off x="6788727" y="3007875"/>
            <a:ext cx="480291" cy="1065361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ovéPole 4"/>
          <p:cNvSpPr txBox="1"/>
          <p:nvPr/>
        </p:nvSpPr>
        <p:spPr>
          <a:xfrm>
            <a:off x="5010394" y="2455943"/>
            <a:ext cx="25004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 smtClean="0">
                <a:solidFill>
                  <a:srgbClr val="FF0000"/>
                </a:solidFill>
              </a:rPr>
              <a:t>Stále existující potenciál epidemie k růstu </a:t>
            </a:r>
            <a:endParaRPr lang="cs-CZ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15692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76A1F31-5410-48DC-9C58-DE2542691B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Schéma stavového modelu SEIR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pro dlouhodobé simulace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u="sng" dirty="0">
                <a:latin typeface="Arial" panose="020B0604020202020204" pitchFamily="34" charset="0"/>
                <a:cs typeface="Arial" panose="020B0604020202020204" pitchFamily="34" charset="0"/>
              </a:rPr>
              <a:t>s </a:t>
            </a:r>
            <a:r>
              <a:rPr lang="en-US" sz="24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dopadem</a:t>
            </a:r>
            <a:r>
              <a:rPr lang="en-US" sz="2400" b="1" u="sng" dirty="0">
                <a:latin typeface="Arial" panose="020B0604020202020204" pitchFamily="34" charset="0"/>
                <a:cs typeface="Arial" panose="020B0604020202020204" pitchFamily="34" charset="0"/>
              </a:rPr>
              <a:t> o</a:t>
            </a:r>
            <a:r>
              <a:rPr lang="cs-CZ" sz="24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čkování</a:t>
            </a:r>
            <a:endParaRPr lang="cs-CZ" sz="1400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Obdélník 40">
            <a:extLst>
              <a:ext uri="{FF2B5EF4-FFF2-40B4-BE49-F238E27FC236}">
                <a16:creationId xmlns:a16="http://schemas.microsoft.com/office/drawing/2014/main" id="{2B04E69E-696B-426D-92D2-95AD65B197D7}"/>
              </a:ext>
            </a:extLst>
          </p:cNvPr>
          <p:cNvSpPr/>
          <p:nvPr/>
        </p:nvSpPr>
        <p:spPr>
          <a:xfrm>
            <a:off x="941293" y="3379695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chylní jedinci</a:t>
            </a: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D063A768-01D3-4A56-8BBA-28DED35E1CE0}"/>
              </a:ext>
            </a:extLst>
          </p:cNvPr>
          <p:cNvSpPr/>
          <p:nvPr/>
        </p:nvSpPr>
        <p:spPr>
          <a:xfrm>
            <a:off x="3682998" y="3379695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onovaní jedinci</a:t>
            </a:r>
          </a:p>
        </p:txBody>
      </p:sp>
      <p:sp>
        <p:nvSpPr>
          <p:cNvPr id="43" name="Obdélník 42">
            <a:extLst>
              <a:ext uri="{FF2B5EF4-FFF2-40B4-BE49-F238E27FC236}">
                <a16:creationId xmlns:a16="http://schemas.microsoft.com/office/drawing/2014/main" id="{BADCA929-8F51-4A46-84F0-4EE1E7912B1C}"/>
              </a:ext>
            </a:extLst>
          </p:cNvPr>
          <p:cNvSpPr/>
          <p:nvPr/>
        </p:nvSpPr>
        <p:spPr>
          <a:xfrm>
            <a:off x="6424703" y="235836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znaky</a:t>
            </a:r>
          </a:p>
        </p:txBody>
      </p:sp>
      <p:sp>
        <p:nvSpPr>
          <p:cNvPr id="44" name="Obdélník 43">
            <a:extLst>
              <a:ext uri="{FF2B5EF4-FFF2-40B4-BE49-F238E27FC236}">
                <a16:creationId xmlns:a16="http://schemas.microsoft.com/office/drawing/2014/main" id="{6AD42F47-49DC-4AF9-9274-1EA0FEA16506}"/>
              </a:ext>
            </a:extLst>
          </p:cNvPr>
          <p:cNvSpPr/>
          <p:nvPr/>
        </p:nvSpPr>
        <p:spPr>
          <a:xfrm>
            <a:off x="9297887" y="3370730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zolovaní jedinci</a:t>
            </a:r>
          </a:p>
        </p:txBody>
      </p:sp>
      <p:sp>
        <p:nvSpPr>
          <p:cNvPr id="45" name="Šipka: doprava 44">
            <a:extLst>
              <a:ext uri="{FF2B5EF4-FFF2-40B4-BE49-F238E27FC236}">
                <a16:creationId xmlns:a16="http://schemas.microsoft.com/office/drawing/2014/main" id="{4C13D826-2505-4EE1-82AE-F4AB7726E1B5}"/>
              </a:ext>
            </a:extLst>
          </p:cNvPr>
          <p:cNvSpPr/>
          <p:nvPr/>
        </p:nvSpPr>
        <p:spPr>
          <a:xfrm>
            <a:off x="2993463" y="3702423"/>
            <a:ext cx="54684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Obdélník 45">
            <a:extLst>
              <a:ext uri="{FF2B5EF4-FFF2-40B4-BE49-F238E27FC236}">
                <a16:creationId xmlns:a16="http://schemas.microsoft.com/office/drawing/2014/main" id="{B14B0F29-42EE-4449-8FA0-2FFCC0E7A5D6}"/>
              </a:ext>
            </a:extLst>
          </p:cNvPr>
          <p:cNvSpPr/>
          <p:nvPr/>
        </p:nvSpPr>
        <p:spPr>
          <a:xfrm>
            <a:off x="6424703" y="4405503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příznakoví</a:t>
            </a:r>
          </a:p>
        </p:txBody>
      </p:sp>
      <p:sp>
        <p:nvSpPr>
          <p:cNvPr id="47" name="Šipka: doprava 46">
            <a:extLst>
              <a:ext uri="{FF2B5EF4-FFF2-40B4-BE49-F238E27FC236}">
                <a16:creationId xmlns:a16="http://schemas.microsoft.com/office/drawing/2014/main" id="{D213C4CF-884A-47FE-9932-16FB105C4037}"/>
              </a:ext>
            </a:extLst>
          </p:cNvPr>
          <p:cNvSpPr/>
          <p:nvPr/>
        </p:nvSpPr>
        <p:spPr>
          <a:xfrm>
            <a:off x="5685928" y="2684930"/>
            <a:ext cx="738776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Šipka: doprava 47">
            <a:extLst>
              <a:ext uri="{FF2B5EF4-FFF2-40B4-BE49-F238E27FC236}">
                <a16:creationId xmlns:a16="http://schemas.microsoft.com/office/drawing/2014/main" id="{608B85F7-5E22-4599-8F4E-6A61635A808E}"/>
              </a:ext>
            </a:extLst>
          </p:cNvPr>
          <p:cNvSpPr/>
          <p:nvPr/>
        </p:nvSpPr>
        <p:spPr>
          <a:xfrm>
            <a:off x="5685926" y="4724397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A1F9FDF5-109A-473A-86F7-AE70B59EEBF0}"/>
              </a:ext>
            </a:extLst>
          </p:cNvPr>
          <p:cNvSpPr/>
          <p:nvPr/>
        </p:nvSpPr>
        <p:spPr>
          <a:xfrm>
            <a:off x="5685927" y="2788023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Šipka: doprava 49">
            <a:extLst>
              <a:ext uri="{FF2B5EF4-FFF2-40B4-BE49-F238E27FC236}">
                <a16:creationId xmlns:a16="http://schemas.microsoft.com/office/drawing/2014/main" id="{10587047-838E-48F4-9F92-8CBF3AB25FF0}"/>
              </a:ext>
            </a:extLst>
          </p:cNvPr>
          <p:cNvSpPr/>
          <p:nvPr/>
        </p:nvSpPr>
        <p:spPr>
          <a:xfrm>
            <a:off x="8469462" y="3659841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Obdélník 50">
            <a:extLst>
              <a:ext uri="{FF2B5EF4-FFF2-40B4-BE49-F238E27FC236}">
                <a16:creationId xmlns:a16="http://schemas.microsoft.com/office/drawing/2014/main" id="{054974A4-DA60-4490-9AAD-3973AAACF2C2}"/>
              </a:ext>
            </a:extLst>
          </p:cNvPr>
          <p:cNvSpPr/>
          <p:nvPr/>
        </p:nvSpPr>
        <p:spPr>
          <a:xfrm>
            <a:off x="8469463" y="2788023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FE7E001D-0B75-40E0-AAE6-7132D90F7EA2}"/>
              </a:ext>
            </a:extLst>
          </p:cNvPr>
          <p:cNvSpPr txBox="1"/>
          <p:nvPr/>
        </p:nvSpPr>
        <p:spPr>
          <a:xfrm>
            <a:off x="588052" y="2099426"/>
            <a:ext cx="2935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ost onemocně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tnost kontak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infekčních jedinců 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</a:t>
            </a:r>
          </a:p>
        </p:txBody>
      </p: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9F44768C-5FDA-4214-A558-285F9A9BD9CE}"/>
              </a:ext>
            </a:extLst>
          </p:cNvPr>
          <p:cNvSpPr txBox="1"/>
          <p:nvPr/>
        </p:nvSpPr>
        <p:spPr>
          <a:xfrm>
            <a:off x="3346138" y="2332960"/>
            <a:ext cx="29351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latentního období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o nákaze, před infekčností)</a:t>
            </a: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F915E3A6-2C83-4C2A-9CE0-5284C9CD8F0D}"/>
              </a:ext>
            </a:extLst>
          </p:cNvPr>
          <p:cNvSpPr txBox="1"/>
          <p:nvPr/>
        </p:nvSpPr>
        <p:spPr>
          <a:xfrm>
            <a:off x="6184948" y="3424534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bezpříznakových jedinců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EC9FA024-5E59-4474-9F8F-D201213190EE}"/>
              </a:ext>
            </a:extLst>
          </p:cNvPr>
          <p:cNvSpPr txBox="1"/>
          <p:nvPr/>
        </p:nvSpPr>
        <p:spPr>
          <a:xfrm>
            <a:off x="8621057" y="2376425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infekčního období/rychlost izolace</a:t>
            </a: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03E6A01B-C785-4E5E-A264-0E817822A778}"/>
              </a:ext>
            </a:extLst>
          </p:cNvPr>
          <p:cNvSpPr txBox="1"/>
          <p:nvPr/>
        </p:nvSpPr>
        <p:spPr>
          <a:xfrm>
            <a:off x="6038466" y="1601550"/>
            <a:ext cx="5074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POČÍTÁNÍ MEZI PŘÍPADY (JEN SYMPTOMATIČTÍ)</a:t>
            </a:r>
          </a:p>
        </p:txBody>
      </p:sp>
      <p:sp>
        <p:nvSpPr>
          <p:cNvPr id="57" name="Šipka: dolů 56">
            <a:extLst>
              <a:ext uri="{FF2B5EF4-FFF2-40B4-BE49-F238E27FC236}">
                <a16:creationId xmlns:a16="http://schemas.microsoft.com/office/drawing/2014/main" id="{782C6E6F-542D-452F-93BB-94B4C05288A8}"/>
              </a:ext>
            </a:extLst>
          </p:cNvPr>
          <p:cNvSpPr/>
          <p:nvPr/>
        </p:nvSpPr>
        <p:spPr>
          <a:xfrm>
            <a:off x="8367795" y="2008872"/>
            <a:ext cx="415367" cy="367553"/>
          </a:xfrm>
          <a:prstGeom prst="downArrow">
            <a:avLst/>
          </a:prstGeom>
          <a:solidFill>
            <a:srgbClr val="D311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DDCAC9A8-B998-4990-8433-32D07C5EAEB7}"/>
              </a:ext>
            </a:extLst>
          </p:cNvPr>
          <p:cNvSpPr/>
          <p:nvPr/>
        </p:nvSpPr>
        <p:spPr>
          <a:xfrm>
            <a:off x="9297887" y="5607329"/>
            <a:ext cx="1909483" cy="101301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aní jedinci</a:t>
            </a:r>
          </a:p>
        </p:txBody>
      </p:sp>
      <p:sp>
        <p:nvSpPr>
          <p:cNvPr id="21" name="Šipka: doprava 20">
            <a:extLst>
              <a:ext uri="{FF2B5EF4-FFF2-40B4-BE49-F238E27FC236}">
                <a16:creationId xmlns:a16="http://schemas.microsoft.com/office/drawing/2014/main" id="{A41BEF73-7A63-410D-95FD-7BD1E2D4B038}"/>
              </a:ext>
            </a:extLst>
          </p:cNvPr>
          <p:cNvSpPr/>
          <p:nvPr/>
        </p:nvSpPr>
        <p:spPr>
          <a:xfrm>
            <a:off x="1663430" y="5879750"/>
            <a:ext cx="7525177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Šipka: doprava 21">
            <a:extLst>
              <a:ext uri="{FF2B5EF4-FFF2-40B4-BE49-F238E27FC236}">
                <a16:creationId xmlns:a16="http://schemas.microsoft.com/office/drawing/2014/main" id="{31B8BC44-7A01-4824-9AED-DF040E9F9BA2}"/>
              </a:ext>
            </a:extLst>
          </p:cNvPr>
          <p:cNvSpPr/>
          <p:nvPr/>
        </p:nvSpPr>
        <p:spPr>
          <a:xfrm rot="5400000">
            <a:off x="9746122" y="4793347"/>
            <a:ext cx="1013009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Obdélník 22">
            <a:extLst>
              <a:ext uri="{FF2B5EF4-FFF2-40B4-BE49-F238E27FC236}">
                <a16:creationId xmlns:a16="http://schemas.microsoft.com/office/drawing/2014/main" id="{74FC45F5-50A9-43F3-8CE1-BEE500BD193E}"/>
              </a:ext>
            </a:extLst>
          </p:cNvPr>
          <p:cNvSpPr/>
          <p:nvPr/>
        </p:nvSpPr>
        <p:spPr>
          <a:xfrm>
            <a:off x="1659276" y="4470619"/>
            <a:ext cx="191929" cy="167214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59AD60A5-4AFD-463C-8D2A-104E5B3F5610}"/>
              </a:ext>
            </a:extLst>
          </p:cNvPr>
          <p:cNvSpPr txBox="1"/>
          <p:nvPr/>
        </p:nvSpPr>
        <p:spPr>
          <a:xfrm>
            <a:off x="1928873" y="5516187"/>
            <a:ext cx="2935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čkovaných jedinců</a:t>
            </a:r>
          </a:p>
        </p:txBody>
      </p:sp>
    </p:spTree>
    <p:extLst>
      <p:ext uri="{BB962C8B-B14F-4D97-AF65-F5344CB8AC3E}">
        <p14:creationId xmlns:p14="http://schemas.microsoft.com/office/powerpoint/2010/main" val="5511808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A1A0EFDF-DF47-4E31-B663-6678984DD0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839" y="1524756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2200" b="1" u="sng" dirty="0">
                <a:solidFill>
                  <a:prstClr val="white"/>
                </a:solidFill>
              </a:rPr>
              <a:t>SEIRV model: udržení a významné posílení opatření </a:t>
            </a:r>
          </a:p>
          <a:p>
            <a:pPr lvl="0" algn="ctr">
              <a:defRPr/>
            </a:pPr>
            <a:r>
              <a:rPr lang="cs-CZ" sz="2200" b="1" dirty="0">
                <a:solidFill>
                  <a:prstClr val="white"/>
                </a:solidFill>
              </a:rPr>
              <a:t>Dopad potenciálního rozvolnění 12.-19.4.2021, </a:t>
            </a:r>
            <a:r>
              <a:rPr lang="cs-CZ" sz="2200" b="1" dirty="0">
                <a:solidFill>
                  <a:srgbClr val="FFC000"/>
                </a:solidFill>
              </a:rPr>
              <a:t>zahrnutí vlivu očkování</a:t>
            </a:r>
            <a:endParaRPr lang="cs-CZ" sz="2200" b="1" u="sng" dirty="0">
              <a:solidFill>
                <a:srgbClr val="FFC000"/>
              </a:solidFill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1600" b="1" dirty="0"/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1200" dirty="0"/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lvl="1"/>
            <a:r>
              <a:rPr lang="cs-CZ" sz="1600" b="1" dirty="0"/>
              <a:t>Od 25.1.</a:t>
            </a:r>
          </a:p>
          <a:p>
            <a:pPr marL="447675" lvl="1" indent="-361950">
              <a:buFont typeface="Wingdings" panose="05000000000000000000" pitchFamily="2" charset="2"/>
              <a:buChar char="q"/>
            </a:pPr>
            <a:r>
              <a:rPr lang="cs-CZ" sz="1600" b="1" dirty="0"/>
              <a:t>zvýšení základní reprodukce o 70 %</a:t>
            </a:r>
            <a:br>
              <a:rPr lang="cs-CZ" sz="1600" b="1" dirty="0"/>
            </a:br>
            <a:r>
              <a:rPr lang="cs-CZ" sz="1600" b="1" dirty="0"/>
              <a:t>(simulace šíření nakažlivějších forem viru, simulace nedodržování opatření)</a:t>
            </a: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endParaRPr lang="cs-CZ" sz="1600" b="1" kern="0" dirty="0"/>
          </a:p>
          <a:p>
            <a:pPr marL="85725" lvl="1">
              <a:defRPr/>
            </a:pPr>
            <a:r>
              <a:rPr lang="cs-CZ" sz="1600" b="1" kern="0" dirty="0"/>
              <a:t>Efekt opatření od 19.2.</a:t>
            </a: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/>
              <a:t>snížení pracovních kontaktů na 20 %</a:t>
            </a:r>
            <a:endParaRPr lang="en-US" sz="1600" b="1" kern="0" dirty="0"/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/>
              <a:t>školní kontakty na 0 %</a:t>
            </a: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/>
              <a:t>snížení jiných kontaktů na 20 - 25 %</a:t>
            </a:r>
          </a:p>
          <a:p>
            <a:pPr marL="85725" lvl="1">
              <a:defRPr/>
            </a:pPr>
            <a:endParaRPr lang="en-US" sz="1600" b="1" kern="0" dirty="0"/>
          </a:p>
          <a:p>
            <a:pPr marL="85725" lvl="1">
              <a:defRPr/>
            </a:pPr>
            <a:r>
              <a:rPr lang="cs-CZ" sz="1600" b="1" kern="0" dirty="0" smtClean="0">
                <a:solidFill>
                  <a:srgbClr val="D31145"/>
                </a:solidFill>
              </a:rPr>
              <a:t>Předpokládaný efekt </a:t>
            </a:r>
            <a:r>
              <a:rPr lang="en-US" sz="1600" b="1" kern="0" dirty="0" err="1">
                <a:solidFill>
                  <a:srgbClr val="D31145"/>
                </a:solidFill>
              </a:rPr>
              <a:t>rozvoln</a:t>
            </a:r>
            <a:r>
              <a:rPr lang="cs-CZ" sz="1600" b="1" kern="0" dirty="0" err="1">
                <a:solidFill>
                  <a:srgbClr val="D31145"/>
                </a:solidFill>
              </a:rPr>
              <a:t>ění</a:t>
            </a:r>
            <a:r>
              <a:rPr lang="cs-CZ" sz="1600" b="1" kern="0" dirty="0">
                <a:solidFill>
                  <a:srgbClr val="D31145"/>
                </a:solidFill>
              </a:rPr>
              <a:t> od 12.4.</a:t>
            </a: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>
                <a:solidFill>
                  <a:srgbClr val="D31145"/>
                </a:solidFill>
              </a:rPr>
              <a:t>zvýšení školních kontaktů na 30 %</a:t>
            </a:r>
          </a:p>
          <a:p>
            <a:pPr marL="447675" lvl="1" indent="-361950">
              <a:buFont typeface="Wingdings" panose="05000000000000000000" pitchFamily="2" charset="2"/>
              <a:buChar char="q"/>
              <a:defRPr/>
            </a:pPr>
            <a:r>
              <a:rPr lang="cs-CZ" sz="1600" b="1" kern="0" dirty="0" smtClean="0">
                <a:solidFill>
                  <a:srgbClr val="D31145"/>
                </a:solidFill>
              </a:rPr>
              <a:t>zvýšení </a:t>
            </a:r>
            <a:r>
              <a:rPr lang="cs-CZ" sz="1600" b="1" kern="0" dirty="0">
                <a:solidFill>
                  <a:srgbClr val="D31145"/>
                </a:solidFill>
              </a:rPr>
              <a:t>pracovních/jiných kontaktů na 30 %</a:t>
            </a:r>
          </a:p>
          <a:p>
            <a:pPr marL="85725" lvl="1">
              <a:defRPr/>
            </a:pPr>
            <a:endParaRPr lang="cs-CZ" sz="1600" b="1" kern="0" dirty="0"/>
          </a:p>
          <a:p>
            <a:pPr marL="85725" lvl="1"/>
            <a:r>
              <a:rPr lang="en-US" sz="1600" b="1" kern="0" dirty="0"/>
              <a:t>(</a:t>
            </a:r>
            <a:r>
              <a:rPr lang="cs-CZ" sz="1600" b="1" kern="0" dirty="0"/>
              <a:t>uvedeny podíly normálních kontaktů</a:t>
            </a:r>
            <a:r>
              <a:rPr lang="en-US" sz="1600" b="1" kern="0" dirty="0"/>
              <a:t>)</a:t>
            </a:r>
            <a:endParaRPr lang="cs-CZ" sz="1600" b="1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600" b="1" dirty="0"/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</a:t>
            </a:r>
            <a:r>
              <a:rPr kumimoji="0" lang="cs-CZ" sz="11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například limitované znalosti o skutečné vnímavosti populace k viru a k jeho novým variantám) 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e nezbytné výsledky brát jako orientační, umožňující zejména celkové</a:t>
            </a:r>
            <a:r>
              <a:rPr kumimoji="0" lang="cs-CZ" sz="1100" b="0" i="1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rovnávání 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43609" y="6056343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FFC000"/>
                </a:solidFill>
              </a:rPr>
              <a:t>RYCHLÝ SCÉNÁŘ:</a:t>
            </a:r>
          </a:p>
          <a:p>
            <a:r>
              <a:rPr lang="cs-CZ" b="1" dirty="0">
                <a:solidFill>
                  <a:srgbClr val="FFC000"/>
                </a:solidFill>
              </a:rPr>
              <a:t>Imunita </a:t>
            </a:r>
            <a:r>
              <a:rPr lang="cs-CZ" b="1" dirty="0" smtClean="0">
                <a:solidFill>
                  <a:srgbClr val="FFC000"/>
                </a:solidFill>
              </a:rPr>
              <a:t>po první dávce očkování </a:t>
            </a:r>
            <a:endParaRPr lang="cs-CZ" b="1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2220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aktuálně hospitalizovaných</a:t>
            </a:r>
            <a:endParaRPr lang="cs-CZ" dirty="0">
              <a:latin typeface="+mj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4658088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19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627864" y="2946636"/>
            <a:ext cx="2956844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: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lný dopad opatření - pokračování</a:t>
            </a:r>
          </a:p>
        </p:txBody>
      </p:sp>
      <p:sp>
        <p:nvSpPr>
          <p:cNvPr id="20" name="TextovéPole 23">
            <a:extLst>
              <a:ext uri="{FF2B5EF4-FFF2-40B4-BE49-F238E27FC236}">
                <a16:creationId xmlns:a16="http://schemas.microsoft.com/office/drawing/2014/main" id="{2F9A611F-3D05-40D4-AA01-B765A1AD4B4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627864" y="1935857"/>
            <a:ext cx="2956844" cy="646331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: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labší dopad opatření - pokračování</a:t>
            </a:r>
          </a:p>
        </p:txBody>
      </p:sp>
    </p:spTree>
    <p:extLst>
      <p:ext uri="{BB962C8B-B14F-4D97-AF65-F5344CB8AC3E}">
        <p14:creationId xmlns:p14="http://schemas.microsoft.com/office/powerpoint/2010/main" val="8601252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aktuálně hospitalizovaných</a:t>
            </a:r>
            <a:r>
              <a:rPr lang="en-US" u="sng" dirty="0">
                <a:latin typeface="+mj-lt"/>
              </a:rPr>
              <a:t> </a:t>
            </a:r>
            <a:r>
              <a:rPr lang="en-US" u="sng" dirty="0" err="1">
                <a:latin typeface="+mj-lt"/>
              </a:rPr>
              <a:t>na</a:t>
            </a:r>
            <a:r>
              <a:rPr lang="en-US" u="sng" dirty="0">
                <a:latin typeface="+mj-lt"/>
              </a:rPr>
              <a:t> JIP</a:t>
            </a:r>
            <a:endParaRPr lang="cs-CZ" dirty="0"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B364D7-B9DD-4ACF-A330-0F27E8BA3BF5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0796060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627864" y="2946636"/>
            <a:ext cx="2956844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: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lný dopad opatření - pokračování</a:t>
            </a:r>
          </a:p>
        </p:txBody>
      </p:sp>
      <p:sp>
        <p:nvSpPr>
          <p:cNvPr id="14" name="TextovéPole 23">
            <a:extLst>
              <a:ext uri="{FF2B5EF4-FFF2-40B4-BE49-F238E27FC236}">
                <a16:creationId xmlns:a16="http://schemas.microsoft.com/office/drawing/2014/main" id="{2F9A611F-3D05-40D4-AA01-B765A1AD4B4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627864" y="1935857"/>
            <a:ext cx="2956844" cy="646331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: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labší dopad opatření - pokračování</a:t>
            </a:r>
          </a:p>
        </p:txBody>
      </p:sp>
    </p:spTree>
    <p:extLst>
      <p:ext uri="{BB962C8B-B14F-4D97-AF65-F5344CB8AC3E}">
        <p14:creationId xmlns:p14="http://schemas.microsoft.com/office/powerpoint/2010/main" val="15050881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4842" y="2467672"/>
            <a:ext cx="11537512" cy="765055"/>
          </a:xfrm>
        </p:spPr>
        <p:txBody>
          <a:bodyPr>
            <a:noAutofit/>
          </a:bodyPr>
          <a:lstStyle/>
          <a:p>
            <a:r>
              <a:rPr lang="cs-CZ" sz="6000" b="1" dirty="0"/>
              <a:t>DĚKUJI ZA POZORNOST </a:t>
            </a:r>
          </a:p>
        </p:txBody>
      </p:sp>
    </p:spTree>
    <p:extLst>
      <p:ext uri="{BB962C8B-B14F-4D97-AF65-F5344CB8AC3E}">
        <p14:creationId xmlns:p14="http://schemas.microsoft.com/office/powerpoint/2010/main" val="259980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Chart 4">
            <a:extLst>
              <a:ext uri="{FF2B5EF4-FFF2-40B4-BE49-F238E27FC236}">
                <a16:creationId xmlns:a16="http://schemas.microsoft.com/office/drawing/2014/main" id="{F3B3A751-5826-48A2-8A63-61032D0536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99403759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76839" cy="576000"/>
          </a:xfrm>
        </p:spPr>
        <p:txBody>
          <a:bodyPr/>
          <a:lstStyle/>
          <a:p>
            <a:r>
              <a:rPr lang="cs-CZ" dirty="0"/>
              <a:t>Počty nově diagnostikovaných pacientů: týdenní vývoj v ČR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/>
        </p:nvSpPr>
        <p:spPr>
          <a:xfrm>
            <a:off x="265215" y="648434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ynamika vývoje počtů pozitivních diagnóz </a:t>
            </a: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tvrzuje zpomalení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šíření nemoci.</a:t>
            </a:r>
          </a:p>
        </p:txBody>
      </p:sp>
      <p:sp>
        <p:nvSpPr>
          <p:cNvPr id="36" name="Šipka doprava 58">
            <a:extLst>
              <a:ext uri="{FF2B5EF4-FFF2-40B4-BE49-F238E27FC236}">
                <a16:creationId xmlns:a16="http://schemas.microsoft.com/office/drawing/2014/main" id="{1EB91550-BE39-4068-9AA2-464822A320B7}"/>
              </a:ext>
            </a:extLst>
          </p:cNvPr>
          <p:cNvSpPr/>
          <p:nvPr/>
        </p:nvSpPr>
        <p:spPr>
          <a:xfrm rot="1364154" flipV="1">
            <a:off x="10449539" y="4398815"/>
            <a:ext cx="1270004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8">
            <a:extLst>
              <a:ext uri="{FF2B5EF4-FFF2-40B4-BE49-F238E27FC236}">
                <a16:creationId xmlns:a16="http://schemas.microsoft.com/office/drawing/2014/main" id="{4B7574F6-7368-4B63-81DB-F6EAC02F30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6341522"/>
              </p:ext>
            </p:extLst>
          </p:nvPr>
        </p:nvGraphicFramePr>
        <p:xfrm>
          <a:off x="197157" y="1134143"/>
          <a:ext cx="11797686" cy="148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5427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2353101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126272650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45180415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137331450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498862452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91621254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0060369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094642904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686944603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793287648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3905191187"/>
                    </a:ext>
                  </a:extLst>
                </a:gridCol>
                <a:gridCol w="655427">
                  <a:extLst>
                    <a:ext uri="{9D8B030D-6E8A-4147-A177-3AD203B41FA5}">
                      <a16:colId xmlns:a16="http://schemas.microsoft.com/office/drawing/2014/main" val="22856643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2.–3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3.–10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3.–17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3.–24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3.–31. 3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4</a:t>
                      </a:r>
                      <a:r>
                        <a:rPr lang="cs-CZ" sz="1600" b="1" i="0" u="sng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–10. 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</a:t>
                      </a:r>
                    </a:p>
                  </a:txBody>
                  <a:tcPr marL="7620" marR="7620" marT="762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02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39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52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39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09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21 případů</a:t>
                      </a:r>
                    </a:p>
                  </a:txBody>
                  <a:tcPr marL="7620" marR="7620" marT="7620" marB="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913717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,4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0,2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1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5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,3 %</a:t>
                      </a:r>
                    </a:p>
                  </a:txBody>
                  <a:tcPr marL="7620" marR="7620" marT="7620" marB="0" anchor="ctr"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343836"/>
                  </a:ext>
                </a:extLst>
              </a:tr>
            </a:tbl>
          </a:graphicData>
        </a:graphic>
      </p:graphicFrame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02FE6BCD-B160-4DEB-82CC-D4CDD287F607}"/>
              </a:ext>
            </a:extLst>
          </p:cNvPr>
          <p:cNvSpPr/>
          <p:nvPr/>
        </p:nvSpPr>
        <p:spPr>
          <a:xfrm>
            <a:off x="1203450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Zahnutá šipka nahoru 25">
            <a:extLst>
              <a:ext uri="{FF2B5EF4-FFF2-40B4-BE49-F238E27FC236}">
                <a16:creationId xmlns:a16="http://schemas.microsoft.com/office/drawing/2014/main" id="{E87C39AF-5DBF-4112-A008-28FE61C7D806}"/>
              </a:ext>
            </a:extLst>
          </p:cNvPr>
          <p:cNvSpPr/>
          <p:nvPr/>
        </p:nvSpPr>
        <p:spPr>
          <a:xfrm>
            <a:off x="3172865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9A04A270-7187-4E15-B7EC-383522621181}"/>
              </a:ext>
            </a:extLst>
          </p:cNvPr>
          <p:cNvSpPr/>
          <p:nvPr/>
        </p:nvSpPr>
        <p:spPr>
          <a:xfrm>
            <a:off x="5116865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Zahnutá šipka nahoru 25">
            <a:extLst>
              <a:ext uri="{FF2B5EF4-FFF2-40B4-BE49-F238E27FC236}">
                <a16:creationId xmlns:a16="http://schemas.microsoft.com/office/drawing/2014/main" id="{35647ED1-6EF9-4788-866E-E82C5C053706}"/>
              </a:ext>
            </a:extLst>
          </p:cNvPr>
          <p:cNvSpPr/>
          <p:nvPr/>
        </p:nvSpPr>
        <p:spPr>
          <a:xfrm>
            <a:off x="7086280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Zahnutá šipka nahoru 25">
            <a:extLst>
              <a:ext uri="{FF2B5EF4-FFF2-40B4-BE49-F238E27FC236}">
                <a16:creationId xmlns:a16="http://schemas.microsoft.com/office/drawing/2014/main" id="{BEB8EDC1-DE8F-4A9A-B5D7-4664DBC21F67}"/>
              </a:ext>
            </a:extLst>
          </p:cNvPr>
          <p:cNvSpPr/>
          <p:nvPr/>
        </p:nvSpPr>
        <p:spPr>
          <a:xfrm>
            <a:off x="9056914" y="2475801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8031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</a:t>
            </a:r>
            <a:r>
              <a:rPr lang="cs-CZ" dirty="0" smtClean="0"/>
              <a:t>a klinické indikace </a:t>
            </a:r>
            <a:endParaRPr lang="cs-CZ" dirty="0">
              <a:latin typeface="+mj-lt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6176832" y="951932"/>
            <a:ext cx="50153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 dirty="0"/>
              <a:t>Relativní pozitivita testů z diagnostické a klinické indikace </a:t>
            </a:r>
            <a:r>
              <a:rPr lang="cs-CZ" sz="2000" b="1" u="sng" dirty="0" smtClean="0">
                <a:solidFill>
                  <a:srgbClr val="0000FF"/>
                </a:solidFill>
              </a:rPr>
              <a:t>nadále klesá</a:t>
            </a:r>
            <a:r>
              <a:rPr lang="cs-CZ" sz="2000" b="1" dirty="0" smtClean="0"/>
              <a:t> </a:t>
            </a:r>
            <a:r>
              <a:rPr lang="cs-CZ" sz="2000" b="1" dirty="0"/>
              <a:t>= průkazný indikátor zpomalování šíření epidemie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435447" y="2753276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  <p:graphicFrame>
        <p:nvGraphicFramePr>
          <p:cNvPr id="12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0842409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AC004B94-E48D-4416-930A-8ABC837D12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9621554"/>
              </p:ext>
            </p:extLst>
          </p:nvPr>
        </p:nvGraphicFramePr>
        <p:xfrm>
          <a:off x="1435447" y="551193"/>
          <a:ext cx="3153360" cy="221635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6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7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1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1291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CA097BF6-68A1-4D50-803F-482D0AA07F45}"/>
              </a:ext>
            </a:extLst>
          </p:cNvPr>
          <p:cNvSpPr txBox="1"/>
          <p:nvPr/>
        </p:nvSpPr>
        <p:spPr>
          <a:xfrm>
            <a:off x="6176832" y="951932"/>
            <a:ext cx="50153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 dirty="0"/>
              <a:t>Relativní pozitivita testů z epidemiologické indikace </a:t>
            </a:r>
            <a:r>
              <a:rPr lang="cs-CZ" sz="2000" b="1" u="sng" dirty="0" smtClean="0">
                <a:solidFill>
                  <a:srgbClr val="0000FF"/>
                </a:solidFill>
              </a:rPr>
              <a:t>nadále klesá</a:t>
            </a:r>
            <a:r>
              <a:rPr lang="cs-CZ" sz="2000" b="1" dirty="0" smtClean="0"/>
              <a:t> </a:t>
            </a:r>
            <a:r>
              <a:rPr lang="cs-CZ" sz="2000" b="1" dirty="0"/>
              <a:t>= průkazný indikátor zpomalování šíření epidemie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78297" y="2813662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  <p:graphicFrame>
        <p:nvGraphicFramePr>
          <p:cNvPr id="12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250466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E0797D28-6372-4729-A9A8-26B82ED8A9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7969200"/>
              </p:ext>
            </p:extLst>
          </p:nvPr>
        </p:nvGraphicFramePr>
        <p:xfrm>
          <a:off x="1459318" y="551193"/>
          <a:ext cx="3153360" cy="221635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6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2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,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6052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277585" y="2771954"/>
            <a:ext cx="115614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dirty="0" smtClean="0">
                <a:solidFill>
                  <a:srgbClr val="C00000"/>
                </a:solidFill>
                <a:latin typeface="Calibri" panose="020F0502020204030204"/>
              </a:rPr>
              <a:t>Avšak </a:t>
            </a:r>
            <a:r>
              <a:rPr lang="cs-CZ" sz="3200" b="1" dirty="0">
                <a:solidFill>
                  <a:srgbClr val="C00000"/>
                </a:solidFill>
                <a:latin typeface="Calibri" panose="020F0502020204030204"/>
              </a:rPr>
              <a:t>v důsledku nově přijatých opatření a vlivem důslednějšího dodržování všech opatření byl růst epidemie na Moravě a Slezsku významně slabší </a:t>
            </a:r>
            <a:r>
              <a:rPr lang="cs-CZ" sz="3200" b="1" dirty="0" smtClean="0">
                <a:solidFill>
                  <a:srgbClr val="C00000"/>
                </a:solidFill>
                <a:latin typeface="Calibri" panose="020F0502020204030204"/>
              </a:rPr>
              <a:t>(až o 40%) než </a:t>
            </a:r>
            <a:r>
              <a:rPr lang="cs-CZ" sz="3200" b="1" dirty="0">
                <a:solidFill>
                  <a:srgbClr val="C00000"/>
                </a:solidFill>
                <a:latin typeface="Calibri" panose="020F0502020204030204"/>
              </a:rPr>
              <a:t>v nejvíce zasažených částech Č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42875" y="147236"/>
            <a:ext cx="11963400" cy="1875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cs-CZ" sz="3600" b="1" dirty="0"/>
              <a:t>Rychlejší šíření epidemie zasáhlo jednotlivé regiony </a:t>
            </a:r>
            <a:r>
              <a:rPr lang="cs-CZ" sz="3600" b="1" dirty="0" smtClean="0"/>
              <a:t>postupně. </a:t>
            </a:r>
            <a:endParaRPr lang="cs-CZ" sz="3600" b="1" dirty="0"/>
          </a:p>
          <a:p>
            <a:pPr marL="0" indent="0" algn="ctr">
              <a:buNone/>
            </a:pPr>
            <a:r>
              <a:rPr lang="cs-CZ" sz="3600" b="1" dirty="0" smtClean="0"/>
              <a:t>Nejdříve a </a:t>
            </a:r>
            <a:r>
              <a:rPr lang="cs-CZ" sz="3600" b="1" dirty="0"/>
              <a:t>nejvíce byl zasažen západ a sever </a:t>
            </a:r>
            <a:r>
              <a:rPr lang="cs-CZ" sz="3600" b="1" dirty="0" smtClean="0"/>
              <a:t>Čech, šíření </a:t>
            </a:r>
          </a:p>
          <a:p>
            <a:pPr marL="0" indent="0" algn="ctr">
              <a:buNone/>
            </a:pPr>
            <a:r>
              <a:rPr lang="cs-CZ" sz="3600" b="1" dirty="0" smtClean="0"/>
              <a:t>dále postupovalo na východ. </a:t>
            </a:r>
            <a:endParaRPr lang="cs-CZ" sz="3600" b="1" dirty="0"/>
          </a:p>
        </p:txBody>
      </p:sp>
      <p:sp>
        <p:nvSpPr>
          <p:cNvPr id="5" name="Šipka dolů 4"/>
          <p:cNvSpPr/>
          <p:nvPr/>
        </p:nvSpPr>
        <p:spPr>
          <a:xfrm>
            <a:off x="5199349" y="2113115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5199349" y="474691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108877" y="3233618"/>
            <a:ext cx="3374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dirty="0" smtClean="0">
                <a:solidFill>
                  <a:srgbClr val="C00000"/>
                </a:solidFill>
                <a:latin typeface="Arial Black" panose="020B0A04020102020204" pitchFamily="34" charset="0"/>
              </a:rPr>
              <a:t>!</a:t>
            </a:r>
            <a:endParaRPr lang="cs-CZ" sz="3600" dirty="0">
              <a:solidFill>
                <a:srgbClr val="C00000"/>
              </a:solidFill>
              <a:latin typeface="Arial Black" panose="020B0A04020102020204" pitchFamily="34" charset="0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11675768" y="3233617"/>
            <a:ext cx="3374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dirty="0" smtClean="0">
                <a:solidFill>
                  <a:srgbClr val="C00000"/>
                </a:solidFill>
                <a:latin typeface="Arial Black" panose="020B0A04020102020204" pitchFamily="34" charset="0"/>
              </a:rPr>
              <a:t>!</a:t>
            </a:r>
            <a:endParaRPr lang="cs-CZ" sz="3600" dirty="0">
              <a:solidFill>
                <a:srgbClr val="C00000"/>
              </a:solidFill>
              <a:latin typeface="Arial Black" panose="020B0A04020102020204" pitchFamily="34" charset="0"/>
            </a:endParaRPr>
          </a:p>
        </p:txBody>
      </p:sp>
      <p:sp>
        <p:nvSpPr>
          <p:cNvPr id="10" name="TextovéPole 9"/>
          <p:cNvSpPr txBox="1"/>
          <p:nvPr/>
        </p:nvSpPr>
        <p:spPr>
          <a:xfrm>
            <a:off x="194458" y="5324633"/>
            <a:ext cx="1156149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dirty="0" smtClean="0">
                <a:solidFill>
                  <a:srgbClr val="0000FF"/>
                </a:solidFill>
                <a:latin typeface="Calibri" panose="020F0502020204030204"/>
              </a:rPr>
              <a:t>Nejnovější data potvrzují klesající trend i v období po Velikonocích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Rozdíly mezi regiony se postupně snižují.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78591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14 denní počet nových případů (na 100 000 obyv.)</a:t>
            </a:r>
            <a:r>
              <a:rPr lang="en-US" dirty="0"/>
              <a:t> v ORP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/>
        </p:nvSpPr>
        <p:spPr>
          <a:xfrm>
            <a:off x="10509040" y="4183455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509040" y="4492181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509040" y="4800907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509040" y="5109633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509040" y="5418359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/>
        </p:nvSpPr>
        <p:spPr>
          <a:xfrm>
            <a:off x="10748797" y="4088789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/>
        </p:nvSpPr>
        <p:spPr>
          <a:xfrm>
            <a:off x="10748797" y="440007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/>
        </p:nvSpPr>
        <p:spPr>
          <a:xfrm>
            <a:off x="10748797" y="471136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/>
        </p:nvSpPr>
        <p:spPr>
          <a:xfrm>
            <a:off x="10748797" y="5022659"/>
            <a:ext cx="12682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/>
        </p:nvSpPr>
        <p:spPr>
          <a:xfrm>
            <a:off x="10748797" y="5333949"/>
            <a:ext cx="14398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1 1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509040" y="5727084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509040" y="6035808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/>
        </p:nvSpPr>
        <p:spPr>
          <a:xfrm>
            <a:off x="10748797" y="5645239"/>
            <a:ext cx="14398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1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/>
        </p:nvSpPr>
        <p:spPr>
          <a:xfrm>
            <a:off x="10748797" y="5956531"/>
            <a:ext cx="8755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extBox 29">
            <a:extLst>
              <a:ext uri="{FF2B5EF4-FFF2-40B4-BE49-F238E27FC236}">
                <a16:creationId xmlns:a16="http://schemas.microsoft.com/office/drawing/2014/main" id="{41BD496B-B1DB-4783-B62F-771740941BE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7384" y="654577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pic>
        <p:nvPicPr>
          <p:cNvPr id="13" name="Picture 12" descr="Map&#10;&#10;Description automatically generated">
            <a:extLst>
              <a:ext uri="{FF2B5EF4-FFF2-40B4-BE49-F238E27FC236}">
                <a16:creationId xmlns:a16="http://schemas.microsoft.com/office/drawing/2014/main" id="{5B3EE2D7-EB23-4DEE-83CA-8A4E8E8A252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84" r="5697"/>
          <a:stretch/>
        </p:blipFill>
        <p:spPr>
          <a:xfrm>
            <a:off x="178264" y="1054687"/>
            <a:ext cx="3590109" cy="2219277"/>
          </a:xfrm>
          <a:prstGeom prst="rect">
            <a:avLst/>
          </a:prstGeom>
        </p:spPr>
      </p:pic>
      <p:sp>
        <p:nvSpPr>
          <p:cNvPr id="27" name="TextBox 29">
            <a:extLst>
              <a:ext uri="{FF2B5EF4-FFF2-40B4-BE49-F238E27FC236}">
                <a16:creationId xmlns:a16="http://schemas.microsoft.com/office/drawing/2014/main" id="{8D218328-959B-4FCE-9A2C-25A0B5849BB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808047" y="747805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pic>
        <p:nvPicPr>
          <p:cNvPr id="25" name="Picture 24" descr="Map&#10;&#10;Description automatically generated">
            <a:extLst>
              <a:ext uri="{FF2B5EF4-FFF2-40B4-BE49-F238E27FC236}">
                <a16:creationId xmlns:a16="http://schemas.microsoft.com/office/drawing/2014/main" id="{65D8BFE4-97FB-4DDA-BC75-CD26CCB79C3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7" r="7615"/>
          <a:stretch/>
        </p:blipFill>
        <p:spPr>
          <a:xfrm>
            <a:off x="3999790" y="1128105"/>
            <a:ext cx="3484517" cy="2160000"/>
          </a:xfrm>
          <a:prstGeom prst="rect">
            <a:avLst/>
          </a:prstGeom>
        </p:spPr>
      </p:pic>
      <p:pic>
        <p:nvPicPr>
          <p:cNvPr id="31" name="Picture 12" descr="Map&#10;&#10;Description automatically generated">
            <a:extLst>
              <a:ext uri="{FF2B5EF4-FFF2-40B4-BE49-F238E27FC236}">
                <a16:creationId xmlns:a16="http://schemas.microsoft.com/office/drawing/2014/main" id="{078D1790-2A55-4D35-B2A3-6D377DE5208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0" r="7941"/>
          <a:stretch/>
        </p:blipFill>
        <p:spPr>
          <a:xfrm>
            <a:off x="8228820" y="1054687"/>
            <a:ext cx="3435848" cy="2162627"/>
          </a:xfrm>
          <a:prstGeom prst="rect">
            <a:avLst/>
          </a:prstGeom>
        </p:spPr>
      </p:pic>
      <p:sp>
        <p:nvSpPr>
          <p:cNvPr id="32" name="TextBox 29">
            <a:extLst>
              <a:ext uri="{FF2B5EF4-FFF2-40B4-BE49-F238E27FC236}">
                <a16:creationId xmlns:a16="http://schemas.microsoft.com/office/drawing/2014/main" id="{8D218328-959B-4FCE-9A2C-25A0B5849BB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68143" y="830434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29" name="TextBox 29">
            <a:extLst>
              <a:ext uri="{FF2B5EF4-FFF2-40B4-BE49-F238E27FC236}">
                <a16:creationId xmlns:a16="http://schemas.microsoft.com/office/drawing/2014/main" id="{743A9488-A89A-4239-AEC7-502354C0E77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8507" y="3833628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 smtClean="0">
                <a:solidFill>
                  <a:srgbClr val="000000"/>
                </a:solidFill>
                <a:latin typeface="Arial" panose="020B0604020202020204"/>
              </a:rPr>
              <a:t>5.4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C84CE5A5-35DC-49D8-BDF7-CF4402451388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6" r="8235"/>
          <a:stretch/>
        </p:blipFill>
        <p:spPr>
          <a:xfrm>
            <a:off x="149850" y="4363455"/>
            <a:ext cx="3447203" cy="2160000"/>
          </a:xfrm>
          <a:prstGeom prst="rect">
            <a:avLst/>
          </a:prstGeom>
        </p:spPr>
      </p:pic>
      <p:sp>
        <p:nvSpPr>
          <p:cNvPr id="33" name="TextBox 29">
            <a:extLst>
              <a:ext uri="{FF2B5EF4-FFF2-40B4-BE49-F238E27FC236}">
                <a16:creationId xmlns:a16="http://schemas.microsoft.com/office/drawing/2014/main" id="{743A9488-A89A-4239-AEC7-502354C0E77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888108" y="3780188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.4.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4" name="Picture 22" descr="Map&#10;&#10;Description automatically generated">
            <a:extLst>
              <a:ext uri="{FF2B5EF4-FFF2-40B4-BE49-F238E27FC236}">
                <a16:creationId xmlns:a16="http://schemas.microsoft.com/office/drawing/2014/main" id="{59F91F5F-D4A7-4015-B59E-05E709843CC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 rotWithShape="1"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51" r="20071"/>
          <a:stretch/>
        </p:blipFill>
        <p:spPr>
          <a:xfrm>
            <a:off x="3888108" y="4281213"/>
            <a:ext cx="3440883" cy="2160000"/>
          </a:xfrm>
          <a:prstGeom prst="rect">
            <a:avLst/>
          </a:prstGeom>
        </p:spPr>
      </p:pic>
      <p:sp>
        <p:nvSpPr>
          <p:cNvPr id="2" name="Šipka doprava 1"/>
          <p:cNvSpPr/>
          <p:nvPr/>
        </p:nvSpPr>
        <p:spPr>
          <a:xfrm rot="10800000">
            <a:off x="6737849" y="3699986"/>
            <a:ext cx="572655" cy="92617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TextovéPole 29"/>
          <p:cNvSpPr txBox="1"/>
          <p:nvPr/>
        </p:nvSpPr>
        <p:spPr>
          <a:xfrm>
            <a:off x="7416913" y="3787403"/>
            <a:ext cx="291736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i="1" dirty="0" smtClean="0"/>
              <a:t>Snižování populační zátěže pokračuje i po Velikonocích</a:t>
            </a:r>
            <a:endParaRPr lang="cs-CZ" sz="2400" i="1" dirty="0"/>
          </a:p>
        </p:txBody>
      </p:sp>
    </p:spTree>
    <p:extLst>
      <p:ext uri="{BB962C8B-B14F-4D97-AF65-F5344CB8AC3E}">
        <p14:creationId xmlns:p14="http://schemas.microsoft.com/office/powerpoint/2010/main" val="759882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 smtClean="0"/>
              <a:t>Zátěž nemocnic klesá v důsledku klesajícího</a:t>
            </a:r>
          </a:p>
          <a:p>
            <a:r>
              <a:rPr lang="cs-CZ" sz="5000" b="1" dirty="0" smtClean="0"/>
              <a:t>počtu nákaz zranitelných pacientů </a:t>
            </a:r>
            <a:endParaRPr lang="cs-CZ" sz="5000" b="1" dirty="0"/>
          </a:p>
        </p:txBody>
      </p:sp>
    </p:spTree>
    <p:extLst>
      <p:ext uri="{BB962C8B-B14F-4D97-AF65-F5344CB8AC3E}">
        <p14:creationId xmlns:p14="http://schemas.microsoft.com/office/powerpoint/2010/main" val="2815245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ovéPole 20"/>
          <p:cNvSpPr txBox="1"/>
          <p:nvPr/>
        </p:nvSpPr>
        <p:spPr>
          <a:xfrm>
            <a:off x="432105" y="33126"/>
            <a:ext cx="113442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Vysoký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počet nově nakažených potenciálně zranitelných pacientů zvyšoval</a:t>
            </a:r>
            <a:r>
              <a:rPr kumimoji="0" lang="cs-CZ" sz="3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zátěž nemocnic.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V posledním </a:t>
            </a:r>
            <a:r>
              <a:rPr kumimoji="0" lang="cs-CZ" sz="30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období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počty pacientů</a:t>
            </a:r>
            <a:r>
              <a:rPr kumimoji="0" lang="cs-CZ" sz="3000" b="1" i="0" u="sng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 klesají</a:t>
            </a:r>
            <a:r>
              <a:rPr kumimoji="0" lang="cs-CZ" sz="3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.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 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3C7B102-51CF-40DA-86E3-19AB93DE7FE7}"/>
              </a:ext>
            </a:extLst>
          </p:cNvPr>
          <p:cNvSpPr txBox="1"/>
          <p:nvPr/>
        </p:nvSpPr>
        <p:spPr>
          <a:xfrm>
            <a:off x="1896063" y="2138740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35" name="Tabulka 3">
            <a:extLst>
              <a:ext uri="{FF2B5EF4-FFF2-40B4-BE49-F238E27FC236}">
                <a16:creationId xmlns:a16="http://schemas.microsoft.com/office/drawing/2014/main" id="{A3693099-23CE-4447-AC61-AFCE59524C7A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9745378"/>
              </p:ext>
            </p:extLst>
          </p:nvPr>
        </p:nvGraphicFramePr>
        <p:xfrm>
          <a:off x="4780229" y="1318755"/>
          <a:ext cx="6406083" cy="21869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82702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223381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800" b="1" u="sng" dirty="0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800" b="1" dirty="0">
                          <a:solidFill>
                            <a:srgbClr val="C00000"/>
                          </a:solidFill>
                          <a:latin typeface="+mn-lt"/>
                        </a:rPr>
                        <a:t>Za uplynulé 3 dny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3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475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800" b="1" dirty="0">
                          <a:solidFill>
                            <a:srgbClr val="C00000"/>
                          </a:solidFill>
                          <a:latin typeface="+mn-lt"/>
                        </a:rPr>
                        <a:t>Za uplynulých 7 dní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3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 320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800" b="1" dirty="0">
                          <a:solidFill>
                            <a:srgbClr val="C00000"/>
                          </a:solidFill>
                          <a:latin typeface="+mn-lt"/>
                        </a:rPr>
                        <a:t>Za uplynulých 14 dní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3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8 879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2" name="Šipka doprava 1"/>
          <p:cNvSpPr/>
          <p:nvPr/>
        </p:nvSpPr>
        <p:spPr>
          <a:xfrm rot="1525312">
            <a:off x="11013483" y="4857956"/>
            <a:ext cx="664908" cy="2028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8" name="Chart 4">
            <a:extLst>
              <a:ext uri="{FF2B5EF4-FFF2-40B4-BE49-F238E27FC236}">
                <a16:creationId xmlns:a16="http://schemas.microsoft.com/office/drawing/2014/main" id="{08BC59A9-FEBF-48E7-BE01-130C7422F8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6163438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3139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tiv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7.xml><?xml version="1.0" encoding="utf-8"?>
<a:theme xmlns:a="http://schemas.openxmlformats.org/drawingml/2006/main" name="4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9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84</TotalTime>
  <Words>2667</Words>
  <Application>Microsoft Office PowerPoint</Application>
  <PresentationFormat>Širokoúhlá obrazovka</PresentationFormat>
  <Paragraphs>600</Paragraphs>
  <Slides>25</Slides>
  <Notes>5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8</vt:i4>
      </vt:variant>
      <vt:variant>
        <vt:lpstr>Nadpisy snímků</vt:lpstr>
      </vt:variant>
      <vt:variant>
        <vt:i4>25</vt:i4>
      </vt:variant>
    </vt:vector>
  </HeadingPairs>
  <TitlesOfParts>
    <vt:vector size="40" baseType="lpstr">
      <vt:lpstr>Arial</vt:lpstr>
      <vt:lpstr>Arial (Základní text)</vt:lpstr>
      <vt:lpstr>Arial Black</vt:lpstr>
      <vt:lpstr>Calibri</vt:lpstr>
      <vt:lpstr>Calibri Light</vt:lpstr>
      <vt:lpstr>Segoe UI</vt:lpstr>
      <vt:lpstr>Wingdings</vt:lpstr>
      <vt:lpstr>Motiv Office</vt:lpstr>
      <vt:lpstr>1_Motiv systému Office</vt:lpstr>
      <vt:lpstr>Office Theme</vt:lpstr>
      <vt:lpstr>8_Motiv Office</vt:lpstr>
      <vt:lpstr>7_Motiv Office</vt:lpstr>
      <vt:lpstr>2_Motiv Office</vt:lpstr>
      <vt:lpstr>4_Motiv Office</vt:lpstr>
      <vt:lpstr>3_Motiv Office</vt:lpstr>
      <vt:lpstr>Datová a informační základna  pro management pandemie COVID-19</vt:lpstr>
      <vt:lpstr>Prezentace aplikace PowerPoint</vt:lpstr>
      <vt:lpstr>Počty nově diagnostikovaných pacientů: týdenní vývoj v ČR</vt:lpstr>
      <vt:lpstr>Podíl pozitivních testů: diagnostické a klinické indikace </vt:lpstr>
      <vt:lpstr>Podíl pozitivních testů: epidemiologické indikace</vt:lpstr>
      <vt:lpstr>Prezentace aplikace PowerPoint</vt:lpstr>
      <vt:lpstr>14 denní počet nových případů (na 100 000 obyv.) v ORP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 Aktuální počty hospitalizovaných pacientů klesají a roste i dostupná kapacita lůžek, včetně JIP</vt:lpstr>
      <vt:lpstr>Národní dispečink lůžkové péč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Scénáře dlouhodobých simulací z 5. 3. 2021</vt:lpstr>
      <vt:lpstr>Prezentace aplikace PowerPoint</vt:lpstr>
      <vt:lpstr>Prezentace aplikace PowerPoint</vt:lpstr>
      <vt:lpstr>Schéma stavového modelu SEIRV pro dlouhodobé simulace  s dopadem očkování</vt:lpstr>
      <vt:lpstr>Prezentace aplikace PowerPoint</vt:lpstr>
      <vt:lpstr>Predikovaný počet aktuálně hospitalizovaných</vt:lpstr>
      <vt:lpstr>Predikovaný počet aktuálně hospitalizovaných na JIP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Ladislav Dušek</cp:lastModifiedBy>
  <cp:revision>2701</cp:revision>
  <dcterms:created xsi:type="dcterms:W3CDTF">2020-03-16T10:06:11Z</dcterms:created>
  <dcterms:modified xsi:type="dcterms:W3CDTF">2021-04-14T09:49:13Z</dcterms:modified>
</cp:coreProperties>
</file>